
<file path=[Content_Types].xml><?xml version="1.0" encoding="utf-8"?>
<Types xmlns="http://schemas.openxmlformats.org/package/2006/content-types">
  <Default Extension="gif" ContentType="image/gif"/>
  <Default Extension="jpeg" ContentType="image/jpeg"/>
  <Default Extension="mp4" ContentType="video/mp4"/>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1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0.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3.xml" ContentType="application/vnd.openxmlformats-officedocument.presentationml.notesSlide+xml"/>
  <Override PartName="/ppt/comments/comment1.xml" ContentType="application/vnd.openxmlformats-officedocument.presentationml.comment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24.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25.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6.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27.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28.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30.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31.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32.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33.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2" r:id="rId4"/>
  </p:sldMasterIdLst>
  <p:notesMasterIdLst>
    <p:notesMasterId r:id="rId40"/>
  </p:notesMasterIdLst>
  <p:handoutMasterIdLst>
    <p:handoutMasterId r:id="rId41"/>
  </p:handoutMasterIdLst>
  <p:sldIdLst>
    <p:sldId id="434" r:id="rId5"/>
    <p:sldId id="407" r:id="rId6"/>
    <p:sldId id="274" r:id="rId7"/>
    <p:sldId id="475" r:id="rId8"/>
    <p:sldId id="481" r:id="rId9"/>
    <p:sldId id="476" r:id="rId10"/>
    <p:sldId id="479" r:id="rId11"/>
    <p:sldId id="461" r:id="rId12"/>
    <p:sldId id="463" r:id="rId13"/>
    <p:sldId id="466" r:id="rId14"/>
    <p:sldId id="467" r:id="rId15"/>
    <p:sldId id="472" r:id="rId16"/>
    <p:sldId id="462" r:id="rId17"/>
    <p:sldId id="439" r:id="rId18"/>
    <p:sldId id="482" r:id="rId19"/>
    <p:sldId id="483" r:id="rId20"/>
    <p:sldId id="484" r:id="rId21"/>
    <p:sldId id="485" r:id="rId22"/>
    <p:sldId id="486" r:id="rId23"/>
    <p:sldId id="487" r:id="rId24"/>
    <p:sldId id="488" r:id="rId25"/>
    <p:sldId id="489" r:id="rId26"/>
    <p:sldId id="490" r:id="rId27"/>
    <p:sldId id="452" r:id="rId28"/>
    <p:sldId id="453" r:id="rId29"/>
    <p:sldId id="480" r:id="rId30"/>
    <p:sldId id="478" r:id="rId31"/>
    <p:sldId id="471" r:id="rId32"/>
    <p:sldId id="440" r:id="rId33"/>
    <p:sldId id="457" r:id="rId34"/>
    <p:sldId id="458" r:id="rId35"/>
    <p:sldId id="459" r:id="rId36"/>
    <p:sldId id="460" r:id="rId37"/>
    <p:sldId id="473" r:id="rId38"/>
    <p:sldId id="474" r:id="rId39"/>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Page de garde" id="{EF574BD8-9857-DC43-AD0D-60B5D4FDBD7F}">
          <p14:sldIdLst>
            <p14:sldId id="434"/>
          </p14:sldIdLst>
        </p14:section>
        <p14:section name="Intro" id="{07979CB6-45F9-423A-9DF7-A6B275797FA4}">
          <p14:sldIdLst>
            <p14:sldId id="407"/>
            <p14:sldId id="274"/>
          </p14:sldIdLst>
        </p14:section>
        <p14:section name="1) App comparaison" id="{E68A5FA1-E1A6-4379-AC5B-1D72A1DCC936}">
          <p14:sldIdLst/>
        </p14:section>
        <p14:section name="1.1) Example apps" id="{24C04484-C133-42DC-8B19-95099EE0F126}">
          <p14:sldIdLst>
            <p14:sldId id="475"/>
            <p14:sldId id="481"/>
            <p14:sldId id="476"/>
            <p14:sldId id="479"/>
            <p14:sldId id="461"/>
            <p14:sldId id="463"/>
          </p14:sldIdLst>
        </p14:section>
        <p14:section name="1.1) Comparaison" id="{2C642101-4E97-45A8-A413-006BC784DC39}">
          <p14:sldIdLst>
            <p14:sldId id="466"/>
            <p14:sldId id="467"/>
            <p14:sldId id="472"/>
            <p14:sldId id="462"/>
          </p14:sldIdLst>
        </p14:section>
        <p14:section name="2) QR Codes" id="{800432F0-9581-401D-A9A1-18BEAF7A0ECA}">
          <p14:sldIdLst>
            <p14:sldId id="439"/>
            <p14:sldId id="482"/>
            <p14:sldId id="483"/>
            <p14:sldId id="484"/>
            <p14:sldId id="485"/>
            <p14:sldId id="486"/>
            <p14:sldId id="487"/>
            <p14:sldId id="488"/>
            <p14:sldId id="489"/>
            <p14:sldId id="490"/>
            <p14:sldId id="452"/>
            <p14:sldId id="453"/>
            <p14:sldId id="480"/>
            <p14:sldId id="478"/>
            <p14:sldId id="471"/>
          </p14:sldIdLst>
        </p14:section>
        <p14:section name="3) Contact Tracing" id="{305861B9-43CB-414A-B87C-C7EADB9A5AD6}">
          <p14:sldIdLst>
            <p14:sldId id="440"/>
            <p14:sldId id="457"/>
            <p14:sldId id="458"/>
            <p14:sldId id="459"/>
            <p14:sldId id="460"/>
          </p14:sldIdLst>
        </p14:section>
        <p14:section name="4) Takeaways and Q&amp;A" id="{EB33A874-D144-461E-8DDA-3F194964D269}">
          <p14:sldIdLst>
            <p14:sldId id="473"/>
            <p14:sldId id="474"/>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iot RASCH" initials="ER" lastIdx="14" clrIdx="0">
    <p:extLst>
      <p:ext uri="{19B8F6BF-5375-455C-9EA6-DF929625EA0E}">
        <p15:presenceInfo xmlns:p15="http://schemas.microsoft.com/office/powerpoint/2012/main" userId="S::erasch@excellium-services.lu::2f4a8af0-b35f-4610-9bc2-bfab6d4d3e11" providerId="AD"/>
      </p:ext>
    </p:extLst>
  </p:cmAuthor>
  <p:cmAuthor id="2" name="Alexis PAIN" initials="AP" lastIdx="3" clrIdx="1">
    <p:extLst>
      <p:ext uri="{19B8F6BF-5375-455C-9EA6-DF929625EA0E}">
        <p15:presenceInfo xmlns:p15="http://schemas.microsoft.com/office/powerpoint/2012/main" userId="S::apain@excellium-services.lu::b78671f6-15be-46ee-b9bf-27c91a325b9c" providerId="AD"/>
      </p:ext>
    </p:extLst>
  </p:cmAuthor>
  <p:cmAuthor id="3" name="Valentin GIANNINI" initials="VG" lastIdx="5" clrIdx="2">
    <p:extLst>
      <p:ext uri="{19B8F6BF-5375-455C-9EA6-DF929625EA0E}">
        <p15:presenceInfo xmlns:p15="http://schemas.microsoft.com/office/powerpoint/2012/main" userId="S::vgiannini@excellium-services.lu::282844b5-3252-425c-a805-4aeabb26e8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69AD"/>
    <a:srgbClr val="F9F9F9"/>
    <a:srgbClr val="D9D9EB"/>
    <a:srgbClr val="8356B2"/>
    <a:srgbClr val="E7E6F4"/>
    <a:srgbClr val="EDEDF7"/>
    <a:srgbClr val="B5B1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946F25-BCF0-4730-BBC6-DC386E8BF556}" v="1" dt="2021-10-04T13:59:04.569"/>
    <p1510:client id="{6F65D988-6654-4D8F-8947-7EFB8B39E7D8}" v="444" dt="2021-10-04T14:52:14.874"/>
    <p1510:client id="{A51B066E-7055-4FD4-A838-6978105183AF}" v="411" dt="2021-10-04T12:20:22.886"/>
    <p1510:client id="{ECFDD3D5-B7C7-4CC5-B35A-23D99CB1ED1B}" v="2630" dt="2021-10-04T14:03:54.428"/>
  </p1510:revLst>
</p1510:revInfo>
</file>

<file path=ppt/tableStyles.xml><?xml version="1.0" encoding="utf-8"?>
<a:tblStyleLst xmlns:a="http://schemas.openxmlformats.org/drawingml/2006/main" def="{E8029F77-75FD-4D28-BF61-CE0C423E0475}">
  <a:tblStyle styleId="{E8029F77-75FD-4D28-BF61-CE0C423E0475}" styleName="Table_0">
    <a:wholeTbl>
      <a:tcTxStyle>
        <a:font>
          <a:latin typeface="Arial"/>
          <a:ea typeface="Arial"/>
          <a:cs typeface="Arial"/>
        </a:font>
        <a:srgbClr val="000000"/>
      </a:tcTxStyle>
      <a:tcStyle>
        <a:tcBdr>
          <a:left>
            <a:ln w="9525" cap="flat" cmpd="sng">
              <a:solidFill>
                <a:srgbClr val="000000"/>
              </a:solidFill>
              <a:prstDash val="solid"/>
              <a:round/>
              <a:headEnd type="none" w="med" len="med"/>
              <a:tailEnd type="none" w="med" len="med"/>
            </a:ln>
          </a:left>
          <a:right>
            <a:ln w="9525" cap="flat" cmpd="sng">
              <a:solidFill>
                <a:srgbClr val="000000"/>
              </a:solidFill>
              <a:prstDash val="solid"/>
              <a:round/>
              <a:headEnd type="none" w="med" len="med"/>
              <a:tailEnd type="none" w="med" len="med"/>
            </a:ln>
          </a:right>
          <a:top>
            <a:ln w="9525" cap="flat" cmpd="sng">
              <a:solidFill>
                <a:srgbClr val="000000"/>
              </a:solidFill>
              <a:prstDash val="solid"/>
              <a:round/>
              <a:headEnd type="none" w="med" len="med"/>
              <a:tailEnd type="none" w="med" len="med"/>
            </a:ln>
          </a:top>
          <a:bottom>
            <a:ln w="9525" cap="flat" cmpd="sng">
              <a:solidFill>
                <a:srgbClr val="000000"/>
              </a:solidFill>
              <a:prstDash val="solid"/>
              <a:round/>
              <a:headEnd type="none" w="med" len="med"/>
              <a:tailEnd type="none" w="med" len="med"/>
            </a:ln>
          </a:bottom>
          <a:insideH>
            <a:ln w="9525" cap="flat" cmpd="sng">
              <a:solidFill>
                <a:srgbClr val="000000"/>
              </a:solidFill>
              <a:prstDash val="solid"/>
              <a:round/>
              <a:headEnd type="none" w="med" len="med"/>
              <a:tailEnd type="none" w="med" len="med"/>
            </a:ln>
          </a:insideH>
          <a:insideV>
            <a:ln w="9525" cap="flat" cmpd="sng">
              <a:solidFill>
                <a:srgbClr val="000000"/>
              </a:solidFill>
              <a:prstDash val="solid"/>
              <a:round/>
              <a:headEnd type="none" w="med" len="med"/>
              <a:tailEnd type="none" w="med" len="med"/>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03" d="100"/>
          <a:sy n="203" d="100"/>
        </p:scale>
        <p:origin x="594" y="144"/>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entin GIANNINI" userId="282844b5-3252-425c-a805-4aeabb26e807" providerId="ADAL" clId="{ECFDD3D5-B7C7-4CC5-B35A-23D99CB1ED1B}"/>
    <pc:docChg chg="undo redo custSel addSld delSld modSld sldOrd delSection modSection">
      <pc:chgData name="Valentin GIANNINI" userId="282844b5-3252-425c-a805-4aeabb26e807" providerId="ADAL" clId="{ECFDD3D5-B7C7-4CC5-B35A-23D99CB1ED1B}" dt="2021-10-04T14:03:54.428" v="4305"/>
      <pc:docMkLst>
        <pc:docMk/>
      </pc:docMkLst>
      <pc:sldChg chg="del">
        <pc:chgData name="Valentin GIANNINI" userId="282844b5-3252-425c-a805-4aeabb26e807" providerId="ADAL" clId="{ECFDD3D5-B7C7-4CC5-B35A-23D99CB1ED1B}" dt="2021-09-24T11:14:18.630" v="5" actId="47"/>
        <pc:sldMkLst>
          <pc:docMk/>
          <pc:sldMk cId="1022600789" sldId="257"/>
        </pc:sldMkLst>
      </pc:sldChg>
      <pc:sldChg chg="delSp del">
        <pc:chgData name="Valentin GIANNINI" userId="282844b5-3252-425c-a805-4aeabb26e807" providerId="ADAL" clId="{ECFDD3D5-B7C7-4CC5-B35A-23D99CB1ED1B}" dt="2021-09-24T11:14:54.300" v="14" actId="47"/>
        <pc:sldMkLst>
          <pc:docMk/>
          <pc:sldMk cId="864308051" sldId="258"/>
        </pc:sldMkLst>
        <pc:picChg chg="del">
          <ac:chgData name="Valentin GIANNINI" userId="282844b5-3252-425c-a805-4aeabb26e807" providerId="ADAL" clId="{ECFDD3D5-B7C7-4CC5-B35A-23D99CB1ED1B}" dt="2021-09-24T11:14:50.679" v="12" actId="21"/>
          <ac:picMkLst>
            <pc:docMk/>
            <pc:sldMk cId="864308051" sldId="258"/>
            <ac:picMk id="8" creationId="{98F2A897-3284-4C38-96BA-04D403F1373F}"/>
          </ac:picMkLst>
        </pc:picChg>
        <pc:picChg chg="del">
          <ac:chgData name="Valentin GIANNINI" userId="282844b5-3252-425c-a805-4aeabb26e807" providerId="ADAL" clId="{ECFDD3D5-B7C7-4CC5-B35A-23D99CB1ED1B}" dt="2021-09-24T11:14:50.679" v="12" actId="21"/>
          <ac:picMkLst>
            <pc:docMk/>
            <pc:sldMk cId="864308051" sldId="258"/>
            <ac:picMk id="10" creationId="{A63AE956-0DA9-4562-84F8-BB9BEACFFB2A}"/>
          </ac:picMkLst>
        </pc:picChg>
        <pc:picChg chg="del">
          <ac:chgData name="Valentin GIANNINI" userId="282844b5-3252-425c-a805-4aeabb26e807" providerId="ADAL" clId="{ECFDD3D5-B7C7-4CC5-B35A-23D99CB1ED1B}" dt="2021-09-24T11:14:50.679" v="12" actId="21"/>
          <ac:picMkLst>
            <pc:docMk/>
            <pc:sldMk cId="864308051" sldId="258"/>
            <ac:picMk id="1026" creationId="{E24EE1DE-220D-4A68-983F-1C8AEF10106A}"/>
          </ac:picMkLst>
        </pc:picChg>
      </pc:sldChg>
      <pc:sldChg chg="delSp modSp del mod">
        <pc:chgData name="Valentin GIANNINI" userId="282844b5-3252-425c-a805-4aeabb26e807" providerId="ADAL" clId="{ECFDD3D5-B7C7-4CC5-B35A-23D99CB1ED1B}" dt="2021-09-24T11:32:31.354" v="303" actId="47"/>
        <pc:sldMkLst>
          <pc:docMk/>
          <pc:sldMk cId="2680703774" sldId="259"/>
        </pc:sldMkLst>
        <pc:picChg chg="del">
          <ac:chgData name="Valentin GIANNINI" userId="282844b5-3252-425c-a805-4aeabb26e807" providerId="ADAL" clId="{ECFDD3D5-B7C7-4CC5-B35A-23D99CB1ED1B}" dt="2021-09-24T11:32:29.017" v="301" actId="478"/>
          <ac:picMkLst>
            <pc:docMk/>
            <pc:sldMk cId="2680703774" sldId="259"/>
            <ac:picMk id="5" creationId="{3356FF87-403B-4BC4-861C-93436DA9927A}"/>
          </ac:picMkLst>
        </pc:picChg>
        <pc:picChg chg="del">
          <ac:chgData name="Valentin GIANNINI" userId="282844b5-3252-425c-a805-4aeabb26e807" providerId="ADAL" clId="{ECFDD3D5-B7C7-4CC5-B35A-23D99CB1ED1B}" dt="2021-09-24T11:32:28.731" v="300" actId="478"/>
          <ac:picMkLst>
            <pc:docMk/>
            <pc:sldMk cId="2680703774" sldId="259"/>
            <ac:picMk id="7" creationId="{45E5AA93-AF74-4293-99E2-9F0BABAFCB13}"/>
          </ac:picMkLst>
        </pc:picChg>
        <pc:picChg chg="del mod">
          <ac:chgData name="Valentin GIANNINI" userId="282844b5-3252-425c-a805-4aeabb26e807" providerId="ADAL" clId="{ECFDD3D5-B7C7-4CC5-B35A-23D99CB1ED1B}" dt="2021-09-24T11:32:28.348" v="299" actId="478"/>
          <ac:picMkLst>
            <pc:docMk/>
            <pc:sldMk cId="2680703774" sldId="259"/>
            <ac:picMk id="9" creationId="{7D7EDD88-6142-44C0-895E-34DA702CA1E8}"/>
          </ac:picMkLst>
        </pc:picChg>
        <pc:picChg chg="del mod">
          <ac:chgData name="Valentin GIANNINI" userId="282844b5-3252-425c-a805-4aeabb26e807" providerId="ADAL" clId="{ECFDD3D5-B7C7-4CC5-B35A-23D99CB1ED1B}" dt="2021-09-24T11:32:27.929" v="298" actId="478"/>
          <ac:picMkLst>
            <pc:docMk/>
            <pc:sldMk cId="2680703774" sldId="259"/>
            <ac:picMk id="11" creationId="{B727496D-74A4-4476-9D35-19A12803C3A9}"/>
          </ac:picMkLst>
        </pc:picChg>
        <pc:picChg chg="del">
          <ac:chgData name="Valentin GIANNINI" userId="282844b5-3252-425c-a805-4aeabb26e807" providerId="ADAL" clId="{ECFDD3D5-B7C7-4CC5-B35A-23D99CB1ED1B}" dt="2021-09-24T11:32:29.502" v="302" actId="478"/>
          <ac:picMkLst>
            <pc:docMk/>
            <pc:sldMk cId="2680703774" sldId="259"/>
            <ac:picMk id="2050" creationId="{D954EEDA-8367-4458-BACC-95F81C577988}"/>
          </ac:picMkLst>
        </pc:picChg>
      </pc:sldChg>
      <pc:sldChg chg="del">
        <pc:chgData name="Valentin GIANNINI" userId="282844b5-3252-425c-a805-4aeabb26e807" providerId="ADAL" clId="{ECFDD3D5-B7C7-4CC5-B35A-23D99CB1ED1B}" dt="2021-09-24T11:36:16.642" v="346" actId="47"/>
        <pc:sldMkLst>
          <pc:docMk/>
          <pc:sldMk cId="2832978972" sldId="260"/>
        </pc:sldMkLst>
      </pc:sldChg>
      <pc:sldChg chg="del">
        <pc:chgData name="Valentin GIANNINI" userId="282844b5-3252-425c-a805-4aeabb26e807" providerId="ADAL" clId="{ECFDD3D5-B7C7-4CC5-B35A-23D99CB1ED1B}" dt="2021-10-01T06:54:11.486" v="1202" actId="47"/>
        <pc:sldMkLst>
          <pc:docMk/>
          <pc:sldMk cId="0" sldId="263"/>
        </pc:sldMkLst>
      </pc:sldChg>
      <pc:sldChg chg="modSp mod addCm delCm modCm">
        <pc:chgData name="Valentin GIANNINI" userId="282844b5-3252-425c-a805-4aeabb26e807" providerId="ADAL" clId="{ECFDD3D5-B7C7-4CC5-B35A-23D99CB1ED1B}" dt="2021-10-04T14:03:52.587" v="4136"/>
        <pc:sldMkLst>
          <pc:docMk/>
          <pc:sldMk cId="24272977" sldId="274"/>
        </pc:sldMkLst>
        <pc:spChg chg="replST">
          <ac:chgData name="Valentin GIANNINI" userId="282844b5-3252-425c-a805-4aeabb26e807" providerId="ADAL" clId="{ECFDD3D5-B7C7-4CC5-B35A-23D99CB1ED1B}" dt="2021-10-04T14:03:52.567" v="4134"/>
          <ac:spMkLst>
            <pc:docMk/>
            <pc:sldMk cId="24272977" sldId="274"/>
            <ac:spMk id="6" creationId="{7EE9450C-08B7-6F48-B23C-288980BBF6FF}"/>
          </ac:spMkLst>
        </pc:spChg>
        <pc:spChg chg="replST">
          <ac:chgData name="Valentin GIANNINI" userId="282844b5-3252-425c-a805-4aeabb26e807" providerId="ADAL" clId="{ECFDD3D5-B7C7-4CC5-B35A-23D99CB1ED1B}" dt="2021-10-04T14:03:52.576" v="4135"/>
          <ac:spMkLst>
            <pc:docMk/>
            <pc:sldMk cId="24272977" sldId="274"/>
            <ac:spMk id="10" creationId="{A483D0A4-E390-6C43-8705-F106C597883B}"/>
          </ac:spMkLst>
        </pc:spChg>
        <pc:spChg chg="mod replST">
          <ac:chgData name="Valentin GIANNINI" userId="282844b5-3252-425c-a805-4aeabb26e807" providerId="ADAL" clId="{ECFDD3D5-B7C7-4CC5-B35A-23D99CB1ED1B}" dt="2021-10-04T14:03:52.587" v="4136"/>
          <ac:spMkLst>
            <pc:docMk/>
            <pc:sldMk cId="24272977" sldId="274"/>
            <ac:spMk id="11" creationId="{3664D79C-4FE9-44C5-BEF5-8C9F6A93DCB9}"/>
          </ac:spMkLst>
        </pc:spChg>
        <pc:spChg chg="replST">
          <ac:chgData name="Valentin GIANNINI" userId="282844b5-3252-425c-a805-4aeabb26e807" providerId="ADAL" clId="{ECFDD3D5-B7C7-4CC5-B35A-23D99CB1ED1B}" dt="2021-10-04T14:03:52.559" v="4133"/>
          <ac:spMkLst>
            <pc:docMk/>
            <pc:sldMk cId="24272977" sldId="274"/>
            <ac:spMk id="96" creationId="{00000000-0000-0000-0000-000000000000}"/>
          </ac:spMkLst>
        </pc:spChg>
      </pc:sldChg>
      <pc:sldChg chg="del">
        <pc:chgData name="Valentin GIANNINI" userId="282844b5-3252-425c-a805-4aeabb26e807" providerId="ADAL" clId="{ECFDD3D5-B7C7-4CC5-B35A-23D99CB1ED1B}" dt="2021-10-01T06:54:11.486" v="1202" actId="47"/>
        <pc:sldMkLst>
          <pc:docMk/>
          <pc:sldMk cId="1130693386" sldId="288"/>
        </pc:sldMkLst>
      </pc:sldChg>
      <pc:sldChg chg="del">
        <pc:chgData name="Valentin GIANNINI" userId="282844b5-3252-425c-a805-4aeabb26e807" providerId="ADAL" clId="{ECFDD3D5-B7C7-4CC5-B35A-23D99CB1ED1B}" dt="2021-10-01T06:54:11.486" v="1202" actId="47"/>
        <pc:sldMkLst>
          <pc:docMk/>
          <pc:sldMk cId="370835368" sldId="289"/>
        </pc:sldMkLst>
      </pc:sldChg>
      <pc:sldChg chg="del">
        <pc:chgData name="Valentin GIANNINI" userId="282844b5-3252-425c-a805-4aeabb26e807" providerId="ADAL" clId="{ECFDD3D5-B7C7-4CC5-B35A-23D99CB1ED1B}" dt="2021-10-01T06:54:11.486" v="1202" actId="47"/>
        <pc:sldMkLst>
          <pc:docMk/>
          <pc:sldMk cId="283721287" sldId="294"/>
        </pc:sldMkLst>
      </pc:sldChg>
      <pc:sldChg chg="del">
        <pc:chgData name="Valentin GIANNINI" userId="282844b5-3252-425c-a805-4aeabb26e807" providerId="ADAL" clId="{ECFDD3D5-B7C7-4CC5-B35A-23D99CB1ED1B}" dt="2021-10-01T06:54:11.486" v="1202" actId="47"/>
        <pc:sldMkLst>
          <pc:docMk/>
          <pc:sldMk cId="1475086857" sldId="295"/>
        </pc:sldMkLst>
      </pc:sldChg>
      <pc:sldChg chg="del">
        <pc:chgData name="Valentin GIANNINI" userId="282844b5-3252-425c-a805-4aeabb26e807" providerId="ADAL" clId="{ECFDD3D5-B7C7-4CC5-B35A-23D99CB1ED1B}" dt="2021-10-01T06:54:11.486" v="1202" actId="47"/>
        <pc:sldMkLst>
          <pc:docMk/>
          <pc:sldMk cId="1867736959" sldId="297"/>
        </pc:sldMkLst>
      </pc:sldChg>
      <pc:sldChg chg="del">
        <pc:chgData name="Valentin GIANNINI" userId="282844b5-3252-425c-a805-4aeabb26e807" providerId="ADAL" clId="{ECFDD3D5-B7C7-4CC5-B35A-23D99CB1ED1B}" dt="2021-10-01T06:54:11.486" v="1202" actId="47"/>
        <pc:sldMkLst>
          <pc:docMk/>
          <pc:sldMk cId="822428227" sldId="312"/>
        </pc:sldMkLst>
      </pc:sldChg>
      <pc:sldChg chg="del">
        <pc:chgData name="Valentin GIANNINI" userId="282844b5-3252-425c-a805-4aeabb26e807" providerId="ADAL" clId="{ECFDD3D5-B7C7-4CC5-B35A-23D99CB1ED1B}" dt="2021-10-01T06:54:11.486" v="1202" actId="47"/>
        <pc:sldMkLst>
          <pc:docMk/>
          <pc:sldMk cId="560279473" sldId="316"/>
        </pc:sldMkLst>
      </pc:sldChg>
      <pc:sldChg chg="del">
        <pc:chgData name="Valentin GIANNINI" userId="282844b5-3252-425c-a805-4aeabb26e807" providerId="ADAL" clId="{ECFDD3D5-B7C7-4CC5-B35A-23D99CB1ED1B}" dt="2021-10-01T06:54:11.486" v="1202" actId="47"/>
        <pc:sldMkLst>
          <pc:docMk/>
          <pc:sldMk cId="1413981898" sldId="323"/>
        </pc:sldMkLst>
      </pc:sldChg>
      <pc:sldChg chg="del">
        <pc:chgData name="Valentin GIANNINI" userId="282844b5-3252-425c-a805-4aeabb26e807" providerId="ADAL" clId="{ECFDD3D5-B7C7-4CC5-B35A-23D99CB1ED1B}" dt="2021-10-01T06:54:11.486" v="1202" actId="47"/>
        <pc:sldMkLst>
          <pc:docMk/>
          <pc:sldMk cId="210623839" sldId="325"/>
        </pc:sldMkLst>
      </pc:sldChg>
      <pc:sldChg chg="del">
        <pc:chgData name="Valentin GIANNINI" userId="282844b5-3252-425c-a805-4aeabb26e807" providerId="ADAL" clId="{ECFDD3D5-B7C7-4CC5-B35A-23D99CB1ED1B}" dt="2021-10-01T06:54:11.486" v="1202" actId="47"/>
        <pc:sldMkLst>
          <pc:docMk/>
          <pc:sldMk cId="2705465519" sldId="335"/>
        </pc:sldMkLst>
      </pc:sldChg>
      <pc:sldChg chg="del">
        <pc:chgData name="Valentin GIANNINI" userId="282844b5-3252-425c-a805-4aeabb26e807" providerId="ADAL" clId="{ECFDD3D5-B7C7-4CC5-B35A-23D99CB1ED1B}" dt="2021-10-01T06:54:11.486" v="1202" actId="47"/>
        <pc:sldMkLst>
          <pc:docMk/>
          <pc:sldMk cId="2445225741" sldId="338"/>
        </pc:sldMkLst>
      </pc:sldChg>
      <pc:sldChg chg="del">
        <pc:chgData name="Valentin GIANNINI" userId="282844b5-3252-425c-a805-4aeabb26e807" providerId="ADAL" clId="{ECFDD3D5-B7C7-4CC5-B35A-23D99CB1ED1B}" dt="2021-10-01T06:54:11.486" v="1202" actId="47"/>
        <pc:sldMkLst>
          <pc:docMk/>
          <pc:sldMk cId="498019724" sldId="340"/>
        </pc:sldMkLst>
      </pc:sldChg>
      <pc:sldChg chg="del">
        <pc:chgData name="Valentin GIANNINI" userId="282844b5-3252-425c-a805-4aeabb26e807" providerId="ADAL" clId="{ECFDD3D5-B7C7-4CC5-B35A-23D99CB1ED1B}" dt="2021-10-01T06:54:11.486" v="1202" actId="47"/>
        <pc:sldMkLst>
          <pc:docMk/>
          <pc:sldMk cId="2133705397" sldId="342"/>
        </pc:sldMkLst>
      </pc:sldChg>
      <pc:sldChg chg="del">
        <pc:chgData name="Valentin GIANNINI" userId="282844b5-3252-425c-a805-4aeabb26e807" providerId="ADAL" clId="{ECFDD3D5-B7C7-4CC5-B35A-23D99CB1ED1B}" dt="2021-10-01T06:54:11.486" v="1202" actId="47"/>
        <pc:sldMkLst>
          <pc:docMk/>
          <pc:sldMk cId="1941189085" sldId="344"/>
        </pc:sldMkLst>
      </pc:sldChg>
      <pc:sldChg chg="del">
        <pc:chgData name="Valentin GIANNINI" userId="282844b5-3252-425c-a805-4aeabb26e807" providerId="ADAL" clId="{ECFDD3D5-B7C7-4CC5-B35A-23D99CB1ED1B}" dt="2021-10-01T06:54:11.486" v="1202" actId="47"/>
        <pc:sldMkLst>
          <pc:docMk/>
          <pc:sldMk cId="2525528619" sldId="347"/>
        </pc:sldMkLst>
      </pc:sldChg>
      <pc:sldChg chg="del">
        <pc:chgData name="Valentin GIANNINI" userId="282844b5-3252-425c-a805-4aeabb26e807" providerId="ADAL" clId="{ECFDD3D5-B7C7-4CC5-B35A-23D99CB1ED1B}" dt="2021-10-01T06:54:11.486" v="1202" actId="47"/>
        <pc:sldMkLst>
          <pc:docMk/>
          <pc:sldMk cId="3564113035" sldId="349"/>
        </pc:sldMkLst>
      </pc:sldChg>
      <pc:sldChg chg="del">
        <pc:chgData name="Valentin GIANNINI" userId="282844b5-3252-425c-a805-4aeabb26e807" providerId="ADAL" clId="{ECFDD3D5-B7C7-4CC5-B35A-23D99CB1ED1B}" dt="2021-10-01T06:54:11.486" v="1202" actId="47"/>
        <pc:sldMkLst>
          <pc:docMk/>
          <pc:sldMk cId="3400454568" sldId="358"/>
        </pc:sldMkLst>
      </pc:sldChg>
      <pc:sldChg chg="del">
        <pc:chgData name="Valentin GIANNINI" userId="282844b5-3252-425c-a805-4aeabb26e807" providerId="ADAL" clId="{ECFDD3D5-B7C7-4CC5-B35A-23D99CB1ED1B}" dt="2021-10-01T06:54:11.486" v="1202" actId="47"/>
        <pc:sldMkLst>
          <pc:docMk/>
          <pc:sldMk cId="3836121989" sldId="360"/>
        </pc:sldMkLst>
      </pc:sldChg>
      <pc:sldChg chg="del">
        <pc:chgData name="Valentin GIANNINI" userId="282844b5-3252-425c-a805-4aeabb26e807" providerId="ADAL" clId="{ECFDD3D5-B7C7-4CC5-B35A-23D99CB1ED1B}" dt="2021-10-01T06:54:11.486" v="1202" actId="47"/>
        <pc:sldMkLst>
          <pc:docMk/>
          <pc:sldMk cId="601028945" sldId="380"/>
        </pc:sldMkLst>
      </pc:sldChg>
      <pc:sldChg chg="del">
        <pc:chgData name="Valentin GIANNINI" userId="282844b5-3252-425c-a805-4aeabb26e807" providerId="ADAL" clId="{ECFDD3D5-B7C7-4CC5-B35A-23D99CB1ED1B}" dt="2021-10-01T06:54:11.486" v="1202" actId="47"/>
        <pc:sldMkLst>
          <pc:docMk/>
          <pc:sldMk cId="3838185521" sldId="388"/>
        </pc:sldMkLst>
      </pc:sldChg>
      <pc:sldChg chg="del">
        <pc:chgData name="Valentin GIANNINI" userId="282844b5-3252-425c-a805-4aeabb26e807" providerId="ADAL" clId="{ECFDD3D5-B7C7-4CC5-B35A-23D99CB1ED1B}" dt="2021-10-01T06:54:11.486" v="1202" actId="47"/>
        <pc:sldMkLst>
          <pc:docMk/>
          <pc:sldMk cId="2337779286" sldId="390"/>
        </pc:sldMkLst>
      </pc:sldChg>
      <pc:sldChg chg="del">
        <pc:chgData name="Valentin GIANNINI" userId="282844b5-3252-425c-a805-4aeabb26e807" providerId="ADAL" clId="{ECFDD3D5-B7C7-4CC5-B35A-23D99CB1ED1B}" dt="2021-10-01T06:54:11.486" v="1202" actId="47"/>
        <pc:sldMkLst>
          <pc:docMk/>
          <pc:sldMk cId="4264630809" sldId="391"/>
        </pc:sldMkLst>
      </pc:sldChg>
      <pc:sldChg chg="del">
        <pc:chgData name="Valentin GIANNINI" userId="282844b5-3252-425c-a805-4aeabb26e807" providerId="ADAL" clId="{ECFDD3D5-B7C7-4CC5-B35A-23D99CB1ED1B}" dt="2021-10-01T06:54:11.486" v="1202" actId="47"/>
        <pc:sldMkLst>
          <pc:docMk/>
          <pc:sldMk cId="3820935432" sldId="392"/>
        </pc:sldMkLst>
      </pc:sldChg>
      <pc:sldChg chg="del">
        <pc:chgData name="Valentin GIANNINI" userId="282844b5-3252-425c-a805-4aeabb26e807" providerId="ADAL" clId="{ECFDD3D5-B7C7-4CC5-B35A-23D99CB1ED1B}" dt="2021-10-01T06:54:11.486" v="1202" actId="47"/>
        <pc:sldMkLst>
          <pc:docMk/>
          <pc:sldMk cId="2441043867" sldId="393"/>
        </pc:sldMkLst>
      </pc:sldChg>
      <pc:sldChg chg="del">
        <pc:chgData name="Valentin GIANNINI" userId="282844b5-3252-425c-a805-4aeabb26e807" providerId="ADAL" clId="{ECFDD3D5-B7C7-4CC5-B35A-23D99CB1ED1B}" dt="2021-10-01T06:54:11.486" v="1202" actId="47"/>
        <pc:sldMkLst>
          <pc:docMk/>
          <pc:sldMk cId="3219475396" sldId="394"/>
        </pc:sldMkLst>
      </pc:sldChg>
      <pc:sldChg chg="del">
        <pc:chgData name="Valentin GIANNINI" userId="282844b5-3252-425c-a805-4aeabb26e807" providerId="ADAL" clId="{ECFDD3D5-B7C7-4CC5-B35A-23D99CB1ED1B}" dt="2021-10-01T06:54:11.486" v="1202" actId="47"/>
        <pc:sldMkLst>
          <pc:docMk/>
          <pc:sldMk cId="3187465058" sldId="395"/>
        </pc:sldMkLst>
      </pc:sldChg>
      <pc:sldChg chg="del">
        <pc:chgData name="Valentin GIANNINI" userId="282844b5-3252-425c-a805-4aeabb26e807" providerId="ADAL" clId="{ECFDD3D5-B7C7-4CC5-B35A-23D99CB1ED1B}" dt="2021-10-01T06:54:11.486" v="1202" actId="47"/>
        <pc:sldMkLst>
          <pc:docMk/>
          <pc:sldMk cId="1690624142" sldId="398"/>
        </pc:sldMkLst>
      </pc:sldChg>
      <pc:sldChg chg="del">
        <pc:chgData name="Valentin GIANNINI" userId="282844b5-3252-425c-a805-4aeabb26e807" providerId="ADAL" clId="{ECFDD3D5-B7C7-4CC5-B35A-23D99CB1ED1B}" dt="2021-10-01T06:54:11.486" v="1202" actId="47"/>
        <pc:sldMkLst>
          <pc:docMk/>
          <pc:sldMk cId="1447932402" sldId="399"/>
        </pc:sldMkLst>
      </pc:sldChg>
      <pc:sldChg chg="del">
        <pc:chgData name="Valentin GIANNINI" userId="282844b5-3252-425c-a805-4aeabb26e807" providerId="ADAL" clId="{ECFDD3D5-B7C7-4CC5-B35A-23D99CB1ED1B}" dt="2021-10-01T06:54:11.486" v="1202" actId="47"/>
        <pc:sldMkLst>
          <pc:docMk/>
          <pc:sldMk cId="397932518" sldId="400"/>
        </pc:sldMkLst>
      </pc:sldChg>
      <pc:sldChg chg="del">
        <pc:chgData name="Valentin GIANNINI" userId="282844b5-3252-425c-a805-4aeabb26e807" providerId="ADAL" clId="{ECFDD3D5-B7C7-4CC5-B35A-23D99CB1ED1B}" dt="2021-10-01T06:54:11.486" v="1202" actId="47"/>
        <pc:sldMkLst>
          <pc:docMk/>
          <pc:sldMk cId="4188145788" sldId="401"/>
        </pc:sldMkLst>
      </pc:sldChg>
      <pc:sldChg chg="del">
        <pc:chgData name="Valentin GIANNINI" userId="282844b5-3252-425c-a805-4aeabb26e807" providerId="ADAL" clId="{ECFDD3D5-B7C7-4CC5-B35A-23D99CB1ED1B}" dt="2021-10-01T06:54:11.486" v="1202" actId="47"/>
        <pc:sldMkLst>
          <pc:docMk/>
          <pc:sldMk cId="2479640379" sldId="402"/>
        </pc:sldMkLst>
      </pc:sldChg>
      <pc:sldChg chg="del">
        <pc:chgData name="Valentin GIANNINI" userId="282844b5-3252-425c-a805-4aeabb26e807" providerId="ADAL" clId="{ECFDD3D5-B7C7-4CC5-B35A-23D99CB1ED1B}" dt="2021-10-01T06:54:11.486" v="1202" actId="47"/>
        <pc:sldMkLst>
          <pc:docMk/>
          <pc:sldMk cId="2396781102" sldId="403"/>
        </pc:sldMkLst>
      </pc:sldChg>
      <pc:sldChg chg="del">
        <pc:chgData name="Valentin GIANNINI" userId="282844b5-3252-425c-a805-4aeabb26e807" providerId="ADAL" clId="{ECFDD3D5-B7C7-4CC5-B35A-23D99CB1ED1B}" dt="2021-10-01T06:54:11.486" v="1202" actId="47"/>
        <pc:sldMkLst>
          <pc:docMk/>
          <pc:sldMk cId="2182230424" sldId="404"/>
        </pc:sldMkLst>
      </pc:sldChg>
      <pc:sldChg chg="del">
        <pc:chgData name="Valentin GIANNINI" userId="282844b5-3252-425c-a805-4aeabb26e807" providerId="ADAL" clId="{ECFDD3D5-B7C7-4CC5-B35A-23D99CB1ED1B}" dt="2021-10-01T06:54:11.486" v="1202" actId="47"/>
        <pc:sldMkLst>
          <pc:docMk/>
          <pc:sldMk cId="3977228297" sldId="405"/>
        </pc:sldMkLst>
      </pc:sldChg>
      <pc:sldChg chg="del">
        <pc:chgData name="Valentin GIANNINI" userId="282844b5-3252-425c-a805-4aeabb26e807" providerId="ADAL" clId="{ECFDD3D5-B7C7-4CC5-B35A-23D99CB1ED1B}" dt="2021-10-01T06:54:11.486" v="1202" actId="47"/>
        <pc:sldMkLst>
          <pc:docMk/>
          <pc:sldMk cId="926901141" sldId="406"/>
        </pc:sldMkLst>
      </pc:sldChg>
      <pc:sldChg chg="modSp mod delCm">
        <pc:chgData name="Valentin GIANNINI" userId="282844b5-3252-425c-a805-4aeabb26e807" providerId="ADAL" clId="{ECFDD3D5-B7C7-4CC5-B35A-23D99CB1ED1B}" dt="2021-10-04T14:03:52.545" v="4132"/>
        <pc:sldMkLst>
          <pc:docMk/>
          <pc:sldMk cId="499463606" sldId="407"/>
        </pc:sldMkLst>
        <pc:spChg chg="replST">
          <ac:chgData name="Valentin GIANNINI" userId="282844b5-3252-425c-a805-4aeabb26e807" providerId="ADAL" clId="{ECFDD3D5-B7C7-4CC5-B35A-23D99CB1ED1B}" dt="2021-10-04T14:03:52.505" v="4128"/>
          <ac:spMkLst>
            <pc:docMk/>
            <pc:sldMk cId="499463606" sldId="407"/>
            <ac:spMk id="14" creationId="{ADE24960-3DC1-4F40-8705-D09E167A0C53}"/>
          </ac:spMkLst>
        </pc:spChg>
        <pc:spChg chg="replST">
          <ac:chgData name="Valentin GIANNINI" userId="282844b5-3252-425c-a805-4aeabb26e807" providerId="ADAL" clId="{ECFDD3D5-B7C7-4CC5-B35A-23D99CB1ED1B}" dt="2021-10-04T14:03:52.513" v="4129"/>
          <ac:spMkLst>
            <pc:docMk/>
            <pc:sldMk cId="499463606" sldId="407"/>
            <ac:spMk id="15" creationId="{876AB4B5-129A-7F43-9340-1BAF49B9B459}"/>
          </ac:spMkLst>
        </pc:spChg>
        <pc:graphicFrameChg chg="replST">
          <ac:chgData name="Valentin GIANNINI" userId="282844b5-3252-425c-a805-4aeabb26e807" providerId="ADAL" clId="{ECFDD3D5-B7C7-4CC5-B35A-23D99CB1ED1B}" dt="2021-10-04T14:03:52.545" v="4132"/>
          <ac:graphicFrameMkLst>
            <pc:docMk/>
            <pc:sldMk cId="499463606" sldId="407"/>
            <ac:graphicFrameMk id="10" creationId="{0ED20E39-2269-41A1-9B03-654E50B333C8}"/>
          </ac:graphicFrameMkLst>
        </pc:graphicFrameChg>
        <pc:graphicFrameChg chg="replST">
          <ac:chgData name="Valentin GIANNINI" userId="282844b5-3252-425c-a805-4aeabb26e807" providerId="ADAL" clId="{ECFDD3D5-B7C7-4CC5-B35A-23D99CB1ED1B}" dt="2021-10-04T14:03:52.535" v="4131"/>
          <ac:graphicFrameMkLst>
            <pc:docMk/>
            <pc:sldMk cId="499463606" sldId="407"/>
            <ac:graphicFrameMk id="11" creationId="{7B51C2DC-17B7-49A8-BBF4-FEF58EE3F3BA}"/>
          </ac:graphicFrameMkLst>
        </pc:graphicFrameChg>
        <pc:graphicFrameChg chg="replST">
          <ac:chgData name="Valentin GIANNINI" userId="282844b5-3252-425c-a805-4aeabb26e807" providerId="ADAL" clId="{ECFDD3D5-B7C7-4CC5-B35A-23D99CB1ED1B}" dt="2021-10-04T14:03:52.524" v="4130"/>
          <ac:graphicFrameMkLst>
            <pc:docMk/>
            <pc:sldMk cId="499463606" sldId="407"/>
            <ac:graphicFrameMk id="12" creationId="{B644A16D-60CF-4E81-B7BD-631789A7463C}"/>
          </ac:graphicFrameMkLst>
        </pc:graphicFrameChg>
      </pc:sldChg>
      <pc:sldChg chg="del">
        <pc:chgData name="Valentin GIANNINI" userId="282844b5-3252-425c-a805-4aeabb26e807" providerId="ADAL" clId="{ECFDD3D5-B7C7-4CC5-B35A-23D99CB1ED1B}" dt="2021-10-01T06:54:11.486" v="1202" actId="47"/>
        <pc:sldMkLst>
          <pc:docMk/>
          <pc:sldMk cId="2434400208" sldId="408"/>
        </pc:sldMkLst>
      </pc:sldChg>
      <pc:sldChg chg="del">
        <pc:chgData name="Valentin GIANNINI" userId="282844b5-3252-425c-a805-4aeabb26e807" providerId="ADAL" clId="{ECFDD3D5-B7C7-4CC5-B35A-23D99CB1ED1B}" dt="2021-10-01T06:54:11.486" v="1202" actId="47"/>
        <pc:sldMkLst>
          <pc:docMk/>
          <pc:sldMk cId="1943720863" sldId="409"/>
        </pc:sldMkLst>
      </pc:sldChg>
      <pc:sldChg chg="del">
        <pc:chgData name="Valentin GIANNINI" userId="282844b5-3252-425c-a805-4aeabb26e807" providerId="ADAL" clId="{ECFDD3D5-B7C7-4CC5-B35A-23D99CB1ED1B}" dt="2021-10-01T06:54:11.486" v="1202" actId="47"/>
        <pc:sldMkLst>
          <pc:docMk/>
          <pc:sldMk cId="3178888706" sldId="410"/>
        </pc:sldMkLst>
      </pc:sldChg>
      <pc:sldChg chg="del">
        <pc:chgData name="Valentin GIANNINI" userId="282844b5-3252-425c-a805-4aeabb26e807" providerId="ADAL" clId="{ECFDD3D5-B7C7-4CC5-B35A-23D99CB1ED1B}" dt="2021-10-01T06:54:11.486" v="1202" actId="47"/>
        <pc:sldMkLst>
          <pc:docMk/>
          <pc:sldMk cId="2989537043" sldId="411"/>
        </pc:sldMkLst>
      </pc:sldChg>
      <pc:sldChg chg="del">
        <pc:chgData name="Valentin GIANNINI" userId="282844b5-3252-425c-a805-4aeabb26e807" providerId="ADAL" clId="{ECFDD3D5-B7C7-4CC5-B35A-23D99CB1ED1B}" dt="2021-10-01T06:54:11.486" v="1202" actId="47"/>
        <pc:sldMkLst>
          <pc:docMk/>
          <pc:sldMk cId="1063646059" sldId="412"/>
        </pc:sldMkLst>
      </pc:sldChg>
      <pc:sldChg chg="del">
        <pc:chgData name="Valentin GIANNINI" userId="282844b5-3252-425c-a805-4aeabb26e807" providerId="ADAL" clId="{ECFDD3D5-B7C7-4CC5-B35A-23D99CB1ED1B}" dt="2021-10-01T06:54:11.486" v="1202" actId="47"/>
        <pc:sldMkLst>
          <pc:docMk/>
          <pc:sldMk cId="1350778945" sldId="413"/>
        </pc:sldMkLst>
      </pc:sldChg>
      <pc:sldChg chg="del">
        <pc:chgData name="Valentin GIANNINI" userId="282844b5-3252-425c-a805-4aeabb26e807" providerId="ADAL" clId="{ECFDD3D5-B7C7-4CC5-B35A-23D99CB1ED1B}" dt="2021-10-01T06:54:11.486" v="1202" actId="47"/>
        <pc:sldMkLst>
          <pc:docMk/>
          <pc:sldMk cId="1586054041" sldId="414"/>
        </pc:sldMkLst>
      </pc:sldChg>
      <pc:sldChg chg="del">
        <pc:chgData name="Valentin GIANNINI" userId="282844b5-3252-425c-a805-4aeabb26e807" providerId="ADAL" clId="{ECFDD3D5-B7C7-4CC5-B35A-23D99CB1ED1B}" dt="2021-10-01T06:54:11.486" v="1202" actId="47"/>
        <pc:sldMkLst>
          <pc:docMk/>
          <pc:sldMk cId="360615799" sldId="415"/>
        </pc:sldMkLst>
      </pc:sldChg>
      <pc:sldChg chg="del">
        <pc:chgData name="Valentin GIANNINI" userId="282844b5-3252-425c-a805-4aeabb26e807" providerId="ADAL" clId="{ECFDD3D5-B7C7-4CC5-B35A-23D99CB1ED1B}" dt="2021-10-01T06:54:11.486" v="1202" actId="47"/>
        <pc:sldMkLst>
          <pc:docMk/>
          <pc:sldMk cId="3931581023" sldId="416"/>
        </pc:sldMkLst>
      </pc:sldChg>
      <pc:sldChg chg="del">
        <pc:chgData name="Valentin GIANNINI" userId="282844b5-3252-425c-a805-4aeabb26e807" providerId="ADAL" clId="{ECFDD3D5-B7C7-4CC5-B35A-23D99CB1ED1B}" dt="2021-10-01T06:54:11.486" v="1202" actId="47"/>
        <pc:sldMkLst>
          <pc:docMk/>
          <pc:sldMk cId="3378357089" sldId="417"/>
        </pc:sldMkLst>
      </pc:sldChg>
      <pc:sldChg chg="del">
        <pc:chgData name="Valentin GIANNINI" userId="282844b5-3252-425c-a805-4aeabb26e807" providerId="ADAL" clId="{ECFDD3D5-B7C7-4CC5-B35A-23D99CB1ED1B}" dt="2021-10-01T06:54:11.486" v="1202" actId="47"/>
        <pc:sldMkLst>
          <pc:docMk/>
          <pc:sldMk cId="292449567" sldId="418"/>
        </pc:sldMkLst>
      </pc:sldChg>
      <pc:sldChg chg="del">
        <pc:chgData name="Valentin GIANNINI" userId="282844b5-3252-425c-a805-4aeabb26e807" providerId="ADAL" clId="{ECFDD3D5-B7C7-4CC5-B35A-23D99CB1ED1B}" dt="2021-10-01T06:54:11.486" v="1202" actId="47"/>
        <pc:sldMkLst>
          <pc:docMk/>
          <pc:sldMk cId="448752879" sldId="419"/>
        </pc:sldMkLst>
      </pc:sldChg>
      <pc:sldChg chg="del">
        <pc:chgData name="Valentin GIANNINI" userId="282844b5-3252-425c-a805-4aeabb26e807" providerId="ADAL" clId="{ECFDD3D5-B7C7-4CC5-B35A-23D99CB1ED1B}" dt="2021-10-01T06:54:11.486" v="1202" actId="47"/>
        <pc:sldMkLst>
          <pc:docMk/>
          <pc:sldMk cId="3302978201" sldId="420"/>
        </pc:sldMkLst>
      </pc:sldChg>
      <pc:sldChg chg="del">
        <pc:chgData name="Valentin GIANNINI" userId="282844b5-3252-425c-a805-4aeabb26e807" providerId="ADAL" clId="{ECFDD3D5-B7C7-4CC5-B35A-23D99CB1ED1B}" dt="2021-10-01T06:54:11.486" v="1202" actId="47"/>
        <pc:sldMkLst>
          <pc:docMk/>
          <pc:sldMk cId="1662459976" sldId="421"/>
        </pc:sldMkLst>
      </pc:sldChg>
      <pc:sldChg chg="del">
        <pc:chgData name="Valentin GIANNINI" userId="282844b5-3252-425c-a805-4aeabb26e807" providerId="ADAL" clId="{ECFDD3D5-B7C7-4CC5-B35A-23D99CB1ED1B}" dt="2021-10-01T06:54:11.486" v="1202" actId="47"/>
        <pc:sldMkLst>
          <pc:docMk/>
          <pc:sldMk cId="2069301017" sldId="422"/>
        </pc:sldMkLst>
      </pc:sldChg>
      <pc:sldChg chg="del">
        <pc:chgData name="Valentin GIANNINI" userId="282844b5-3252-425c-a805-4aeabb26e807" providerId="ADAL" clId="{ECFDD3D5-B7C7-4CC5-B35A-23D99CB1ED1B}" dt="2021-10-01T06:54:11.486" v="1202" actId="47"/>
        <pc:sldMkLst>
          <pc:docMk/>
          <pc:sldMk cId="3705589315" sldId="423"/>
        </pc:sldMkLst>
      </pc:sldChg>
      <pc:sldChg chg="del">
        <pc:chgData name="Valentin GIANNINI" userId="282844b5-3252-425c-a805-4aeabb26e807" providerId="ADAL" clId="{ECFDD3D5-B7C7-4CC5-B35A-23D99CB1ED1B}" dt="2021-10-01T06:54:11.486" v="1202" actId="47"/>
        <pc:sldMkLst>
          <pc:docMk/>
          <pc:sldMk cId="3998571786" sldId="424"/>
        </pc:sldMkLst>
      </pc:sldChg>
      <pc:sldChg chg="del">
        <pc:chgData name="Valentin GIANNINI" userId="282844b5-3252-425c-a805-4aeabb26e807" providerId="ADAL" clId="{ECFDD3D5-B7C7-4CC5-B35A-23D99CB1ED1B}" dt="2021-10-01T06:54:11.486" v="1202" actId="47"/>
        <pc:sldMkLst>
          <pc:docMk/>
          <pc:sldMk cId="2420112204" sldId="425"/>
        </pc:sldMkLst>
      </pc:sldChg>
      <pc:sldChg chg="del">
        <pc:chgData name="Valentin GIANNINI" userId="282844b5-3252-425c-a805-4aeabb26e807" providerId="ADAL" clId="{ECFDD3D5-B7C7-4CC5-B35A-23D99CB1ED1B}" dt="2021-10-01T06:54:11.486" v="1202" actId="47"/>
        <pc:sldMkLst>
          <pc:docMk/>
          <pc:sldMk cId="3836474530" sldId="426"/>
        </pc:sldMkLst>
      </pc:sldChg>
      <pc:sldChg chg="del">
        <pc:chgData name="Valentin GIANNINI" userId="282844b5-3252-425c-a805-4aeabb26e807" providerId="ADAL" clId="{ECFDD3D5-B7C7-4CC5-B35A-23D99CB1ED1B}" dt="2021-10-01T06:54:11.486" v="1202" actId="47"/>
        <pc:sldMkLst>
          <pc:docMk/>
          <pc:sldMk cId="4168759590" sldId="427"/>
        </pc:sldMkLst>
      </pc:sldChg>
      <pc:sldChg chg="del">
        <pc:chgData name="Valentin GIANNINI" userId="282844b5-3252-425c-a805-4aeabb26e807" providerId="ADAL" clId="{ECFDD3D5-B7C7-4CC5-B35A-23D99CB1ED1B}" dt="2021-10-01T06:54:11.486" v="1202" actId="47"/>
        <pc:sldMkLst>
          <pc:docMk/>
          <pc:sldMk cId="486491577" sldId="428"/>
        </pc:sldMkLst>
      </pc:sldChg>
      <pc:sldChg chg="del">
        <pc:chgData name="Valentin GIANNINI" userId="282844b5-3252-425c-a805-4aeabb26e807" providerId="ADAL" clId="{ECFDD3D5-B7C7-4CC5-B35A-23D99CB1ED1B}" dt="2021-10-01T06:54:11.486" v="1202" actId="47"/>
        <pc:sldMkLst>
          <pc:docMk/>
          <pc:sldMk cId="3590401637" sldId="429"/>
        </pc:sldMkLst>
      </pc:sldChg>
      <pc:sldChg chg="del">
        <pc:chgData name="Valentin GIANNINI" userId="282844b5-3252-425c-a805-4aeabb26e807" providerId="ADAL" clId="{ECFDD3D5-B7C7-4CC5-B35A-23D99CB1ED1B}" dt="2021-10-01T06:54:11.486" v="1202" actId="47"/>
        <pc:sldMkLst>
          <pc:docMk/>
          <pc:sldMk cId="1253477175" sldId="430"/>
        </pc:sldMkLst>
      </pc:sldChg>
      <pc:sldChg chg="del">
        <pc:chgData name="Valentin GIANNINI" userId="282844b5-3252-425c-a805-4aeabb26e807" providerId="ADAL" clId="{ECFDD3D5-B7C7-4CC5-B35A-23D99CB1ED1B}" dt="2021-10-01T06:54:11.486" v="1202" actId="47"/>
        <pc:sldMkLst>
          <pc:docMk/>
          <pc:sldMk cId="635433555" sldId="431"/>
        </pc:sldMkLst>
      </pc:sldChg>
      <pc:sldChg chg="del">
        <pc:chgData name="Valentin GIANNINI" userId="282844b5-3252-425c-a805-4aeabb26e807" providerId="ADAL" clId="{ECFDD3D5-B7C7-4CC5-B35A-23D99CB1ED1B}" dt="2021-10-01T06:54:11.486" v="1202" actId="47"/>
        <pc:sldMkLst>
          <pc:docMk/>
          <pc:sldMk cId="212242021" sldId="432"/>
        </pc:sldMkLst>
      </pc:sldChg>
      <pc:sldChg chg="del">
        <pc:chgData name="Valentin GIANNINI" userId="282844b5-3252-425c-a805-4aeabb26e807" providerId="ADAL" clId="{ECFDD3D5-B7C7-4CC5-B35A-23D99CB1ED1B}" dt="2021-10-01T06:54:11.486" v="1202" actId="47"/>
        <pc:sldMkLst>
          <pc:docMk/>
          <pc:sldMk cId="2921600010" sldId="433"/>
        </pc:sldMkLst>
      </pc:sldChg>
      <pc:sldChg chg="modSp mod">
        <pc:chgData name="Valentin GIANNINI" userId="282844b5-3252-425c-a805-4aeabb26e807" providerId="ADAL" clId="{ECFDD3D5-B7C7-4CC5-B35A-23D99CB1ED1B}" dt="2021-10-04T14:03:52.479" v="4127"/>
        <pc:sldMkLst>
          <pc:docMk/>
          <pc:sldMk cId="3316875469" sldId="434"/>
        </pc:sldMkLst>
        <pc:spChg chg="replST">
          <ac:chgData name="Valentin GIANNINI" userId="282844b5-3252-425c-a805-4aeabb26e807" providerId="ADAL" clId="{ECFDD3D5-B7C7-4CC5-B35A-23D99CB1ED1B}" dt="2021-10-04T14:03:52.479" v="4127"/>
          <ac:spMkLst>
            <pc:docMk/>
            <pc:sldMk cId="3316875469" sldId="434"/>
            <ac:spMk id="5" creationId="{0EB83274-0C7B-1A4B-AA35-1F1E649DB019}"/>
          </ac:spMkLst>
        </pc:spChg>
      </pc:sldChg>
      <pc:sldChg chg="addSp delSp modSp add del mod delAnim modAnim">
        <pc:chgData name="Valentin GIANNINI" userId="282844b5-3252-425c-a805-4aeabb26e807" providerId="ADAL" clId="{ECFDD3D5-B7C7-4CC5-B35A-23D99CB1ED1B}" dt="2021-09-24T11:27:34.266" v="205" actId="47"/>
        <pc:sldMkLst>
          <pc:docMk/>
          <pc:sldMk cId="1993356398" sldId="435"/>
        </pc:sldMkLst>
        <pc:spChg chg="del">
          <ac:chgData name="Valentin GIANNINI" userId="282844b5-3252-425c-a805-4aeabb26e807" providerId="ADAL" clId="{ECFDD3D5-B7C7-4CC5-B35A-23D99CB1ED1B}" dt="2021-09-24T11:21:34.704" v="87" actId="21"/>
          <ac:spMkLst>
            <pc:docMk/>
            <pc:sldMk cId="1993356398" sldId="435"/>
            <ac:spMk id="3" creationId="{9AE345D1-85F7-4682-8566-F29F5166567A}"/>
          </ac:spMkLst>
        </pc:spChg>
        <pc:spChg chg="add mod">
          <ac:chgData name="Valentin GIANNINI" userId="282844b5-3252-425c-a805-4aeabb26e807" providerId="ADAL" clId="{ECFDD3D5-B7C7-4CC5-B35A-23D99CB1ED1B}" dt="2021-09-24T11:21:34.704" v="87" actId="21"/>
          <ac:spMkLst>
            <pc:docMk/>
            <pc:sldMk cId="1993356398" sldId="435"/>
            <ac:spMk id="4" creationId="{5BDFF5CF-ABAA-41A8-AD6A-93CF2DBF25DD}"/>
          </ac:spMkLst>
        </pc:spChg>
        <pc:spChg chg="del">
          <ac:chgData name="Valentin GIANNINI" userId="282844b5-3252-425c-a805-4aeabb26e807" providerId="ADAL" clId="{ECFDD3D5-B7C7-4CC5-B35A-23D99CB1ED1B}" dt="2021-09-24T11:21:34.704" v="87" actId="21"/>
          <ac:spMkLst>
            <pc:docMk/>
            <pc:sldMk cId="1993356398" sldId="435"/>
            <ac:spMk id="7" creationId="{902F6D13-F425-4D17-B0FB-543BE0A2AD96}"/>
          </ac:spMkLst>
        </pc:spChg>
        <pc:picChg chg="del mod">
          <ac:chgData name="Valentin GIANNINI" userId="282844b5-3252-425c-a805-4aeabb26e807" providerId="ADAL" clId="{ECFDD3D5-B7C7-4CC5-B35A-23D99CB1ED1B}" dt="2021-09-24T11:21:45.309" v="89" actId="21"/>
          <ac:picMkLst>
            <pc:docMk/>
            <pc:sldMk cId="1993356398" sldId="435"/>
            <ac:picMk id="9" creationId="{F5F8F64A-48C2-4D11-8427-9828F18B790D}"/>
          </ac:picMkLst>
        </pc:picChg>
        <pc:picChg chg="del mod">
          <ac:chgData name="Valentin GIANNINI" userId="282844b5-3252-425c-a805-4aeabb26e807" providerId="ADAL" clId="{ECFDD3D5-B7C7-4CC5-B35A-23D99CB1ED1B}" dt="2021-09-24T11:21:34.704" v="87" actId="21"/>
          <ac:picMkLst>
            <pc:docMk/>
            <pc:sldMk cId="1993356398" sldId="435"/>
            <ac:picMk id="3074" creationId="{40000C2C-208A-4596-8378-93D71C30F8F7}"/>
          </ac:picMkLst>
        </pc:picChg>
      </pc:sldChg>
      <pc:sldChg chg="modSp mod">
        <pc:chgData name="Valentin GIANNINI" userId="282844b5-3252-425c-a805-4aeabb26e807" providerId="ADAL" clId="{ECFDD3D5-B7C7-4CC5-B35A-23D99CB1ED1B}" dt="2021-10-04T14:03:53.248" v="4199"/>
        <pc:sldMkLst>
          <pc:docMk/>
          <pc:sldMk cId="2026788672" sldId="439"/>
        </pc:sldMkLst>
        <pc:spChg chg="mod replST">
          <ac:chgData name="Valentin GIANNINI" userId="282844b5-3252-425c-a805-4aeabb26e807" providerId="ADAL" clId="{ECFDD3D5-B7C7-4CC5-B35A-23D99CB1ED1B}" dt="2021-10-04T14:03:53.241" v="4198"/>
          <ac:spMkLst>
            <pc:docMk/>
            <pc:sldMk cId="2026788672" sldId="439"/>
            <ac:spMk id="6" creationId="{5E20247E-8AE2-9546-88DF-24BBEFC7E0A2}"/>
          </ac:spMkLst>
        </pc:spChg>
        <pc:spChg chg="replST">
          <ac:chgData name="Valentin GIANNINI" userId="282844b5-3252-425c-a805-4aeabb26e807" providerId="ADAL" clId="{ECFDD3D5-B7C7-4CC5-B35A-23D99CB1ED1B}" dt="2021-10-04T14:03:53.231" v="4197"/>
          <ac:spMkLst>
            <pc:docMk/>
            <pc:sldMk cId="2026788672" sldId="439"/>
            <ac:spMk id="114" creationId="{00000000-0000-0000-0000-000000000000}"/>
          </ac:spMkLst>
        </pc:spChg>
        <pc:picChg chg="replST">
          <ac:chgData name="Valentin GIANNINI" userId="282844b5-3252-425c-a805-4aeabb26e807" providerId="ADAL" clId="{ECFDD3D5-B7C7-4CC5-B35A-23D99CB1ED1B}" dt="2021-10-04T14:03:53.248" v="4199"/>
          <ac:picMkLst>
            <pc:docMk/>
            <pc:sldMk cId="2026788672" sldId="439"/>
            <ac:picMk id="3" creationId="{3D77C924-8ACB-4330-8CDC-607FDAA26365}"/>
          </ac:picMkLst>
        </pc:picChg>
      </pc:sldChg>
      <pc:sldChg chg="modSp mod modNotesTx">
        <pc:chgData name="Valentin GIANNINI" userId="282844b5-3252-425c-a805-4aeabb26e807" providerId="ADAL" clId="{ECFDD3D5-B7C7-4CC5-B35A-23D99CB1ED1B}" dt="2021-10-04T14:03:54.083" v="4274"/>
        <pc:sldMkLst>
          <pc:docMk/>
          <pc:sldMk cId="974436537" sldId="440"/>
        </pc:sldMkLst>
        <pc:spChg chg="mod replST">
          <ac:chgData name="Valentin GIANNINI" userId="282844b5-3252-425c-a805-4aeabb26e807" providerId="ADAL" clId="{ECFDD3D5-B7C7-4CC5-B35A-23D99CB1ED1B}" dt="2021-10-04T14:03:54.083" v="4274"/>
          <ac:spMkLst>
            <pc:docMk/>
            <pc:sldMk cId="974436537" sldId="440"/>
            <ac:spMk id="6" creationId="{5E20247E-8AE2-9546-88DF-24BBEFC7E0A2}"/>
          </ac:spMkLst>
        </pc:spChg>
        <pc:spChg chg="mod replST">
          <ac:chgData name="Valentin GIANNINI" userId="282844b5-3252-425c-a805-4aeabb26e807" providerId="ADAL" clId="{ECFDD3D5-B7C7-4CC5-B35A-23D99CB1ED1B}" dt="2021-10-04T14:03:54.074" v="4273"/>
          <ac:spMkLst>
            <pc:docMk/>
            <pc:sldMk cId="974436537" sldId="440"/>
            <ac:spMk id="114" creationId="{00000000-0000-0000-0000-000000000000}"/>
          </ac:spMkLst>
        </pc:spChg>
      </pc:sldChg>
      <pc:sldChg chg="addSp delSp modSp del mod ord delAnim modAnim">
        <pc:chgData name="Valentin GIANNINI" userId="282844b5-3252-425c-a805-4aeabb26e807" providerId="ADAL" clId="{ECFDD3D5-B7C7-4CC5-B35A-23D99CB1ED1B}" dt="2021-10-01T12:26:09.877" v="1622" actId="47"/>
        <pc:sldMkLst>
          <pc:docMk/>
          <pc:sldMk cId="1696930645" sldId="443"/>
        </pc:sldMkLst>
        <pc:spChg chg="del">
          <ac:chgData name="Valentin GIANNINI" userId="282844b5-3252-425c-a805-4aeabb26e807" providerId="ADAL" clId="{ECFDD3D5-B7C7-4CC5-B35A-23D99CB1ED1B}" dt="2021-10-01T12:15:52.934" v="1503" actId="478"/>
          <ac:spMkLst>
            <pc:docMk/>
            <pc:sldMk cId="1696930645" sldId="443"/>
            <ac:spMk id="5" creationId="{41365644-6B68-415B-A9A9-E45E671FBB4C}"/>
          </ac:spMkLst>
        </pc:spChg>
        <pc:spChg chg="add del mod">
          <ac:chgData name="Valentin GIANNINI" userId="282844b5-3252-425c-a805-4aeabb26e807" providerId="ADAL" clId="{ECFDD3D5-B7C7-4CC5-B35A-23D99CB1ED1B}" dt="2021-10-01T09:10:22.074" v="1479" actId="478"/>
          <ac:spMkLst>
            <pc:docMk/>
            <pc:sldMk cId="1696930645" sldId="443"/>
            <ac:spMk id="13" creationId="{3750E0C7-D6B3-44EB-ACE7-ABEAFB51D8E4}"/>
          </ac:spMkLst>
        </pc:spChg>
        <pc:spChg chg="add del mod">
          <ac:chgData name="Valentin GIANNINI" userId="282844b5-3252-425c-a805-4aeabb26e807" providerId="ADAL" clId="{ECFDD3D5-B7C7-4CC5-B35A-23D99CB1ED1B}" dt="2021-10-01T12:15:40.518" v="1490" actId="478"/>
          <ac:spMkLst>
            <pc:docMk/>
            <pc:sldMk cId="1696930645" sldId="443"/>
            <ac:spMk id="21" creationId="{9874C94F-666D-4584-BF12-8A8F1015C5DE}"/>
          </ac:spMkLst>
        </pc:spChg>
        <pc:spChg chg="add del mod">
          <ac:chgData name="Valentin GIANNINI" userId="282844b5-3252-425c-a805-4aeabb26e807" providerId="ADAL" clId="{ECFDD3D5-B7C7-4CC5-B35A-23D99CB1ED1B}" dt="2021-10-01T09:10:24.905" v="1481" actId="478"/>
          <ac:spMkLst>
            <pc:docMk/>
            <pc:sldMk cId="1696930645" sldId="443"/>
            <ac:spMk id="27" creationId="{A8140308-52E5-4457-8DF2-9E7C52A05FA1}"/>
          </ac:spMkLst>
        </pc:spChg>
        <pc:spChg chg="del">
          <ac:chgData name="Valentin GIANNINI" userId="282844b5-3252-425c-a805-4aeabb26e807" providerId="ADAL" clId="{ECFDD3D5-B7C7-4CC5-B35A-23D99CB1ED1B}" dt="2021-10-01T12:15:50.668" v="1501" actId="478"/>
          <ac:spMkLst>
            <pc:docMk/>
            <pc:sldMk cId="1696930645" sldId="443"/>
            <ac:spMk id="28" creationId="{49952EC3-7291-4558-80E1-840ED2B1F42E}"/>
          </ac:spMkLst>
        </pc:spChg>
        <pc:spChg chg="del">
          <ac:chgData name="Valentin GIANNINI" userId="282844b5-3252-425c-a805-4aeabb26e807" providerId="ADAL" clId="{ECFDD3D5-B7C7-4CC5-B35A-23D99CB1ED1B}" dt="2021-10-01T12:15:46.565" v="1498" actId="478"/>
          <ac:spMkLst>
            <pc:docMk/>
            <pc:sldMk cId="1696930645" sldId="443"/>
            <ac:spMk id="29" creationId="{7D2C6CC2-5233-4EF4-BB9D-4C679151263D}"/>
          </ac:spMkLst>
        </pc:spChg>
        <pc:spChg chg="del">
          <ac:chgData name="Valentin GIANNINI" userId="282844b5-3252-425c-a805-4aeabb26e807" providerId="ADAL" clId="{ECFDD3D5-B7C7-4CC5-B35A-23D99CB1ED1B}" dt="2021-10-01T12:15:43.545" v="1494" actId="478"/>
          <ac:spMkLst>
            <pc:docMk/>
            <pc:sldMk cId="1696930645" sldId="443"/>
            <ac:spMk id="30" creationId="{7C628831-F8FE-4112-89B0-20DB5141E1A2}"/>
          </ac:spMkLst>
        </pc:spChg>
        <pc:spChg chg="add del mod">
          <ac:chgData name="Valentin GIANNINI" userId="282844b5-3252-425c-a805-4aeabb26e807" providerId="ADAL" clId="{ECFDD3D5-B7C7-4CC5-B35A-23D99CB1ED1B}" dt="2021-10-01T09:10:25.704" v="1482" actId="478"/>
          <ac:spMkLst>
            <pc:docMk/>
            <pc:sldMk cId="1696930645" sldId="443"/>
            <ac:spMk id="33" creationId="{DE796EB7-E4A3-4EA2-A48A-BF40F7F187ED}"/>
          </ac:spMkLst>
        </pc:spChg>
        <pc:spChg chg="add del mod">
          <ac:chgData name="Valentin GIANNINI" userId="282844b5-3252-425c-a805-4aeabb26e807" providerId="ADAL" clId="{ECFDD3D5-B7C7-4CC5-B35A-23D99CB1ED1B}" dt="2021-10-01T12:15:41.385" v="1491" actId="478"/>
          <ac:spMkLst>
            <pc:docMk/>
            <pc:sldMk cId="1696930645" sldId="443"/>
            <ac:spMk id="36" creationId="{EEFBA616-58C0-40CD-840A-3221D3D036C5}"/>
          </ac:spMkLst>
        </pc:spChg>
        <pc:spChg chg="add del mod">
          <ac:chgData name="Valentin GIANNINI" userId="282844b5-3252-425c-a805-4aeabb26e807" providerId="ADAL" clId="{ECFDD3D5-B7C7-4CC5-B35A-23D99CB1ED1B}" dt="2021-10-01T12:15:45.609" v="1497" actId="478"/>
          <ac:spMkLst>
            <pc:docMk/>
            <pc:sldMk cId="1696930645" sldId="443"/>
            <ac:spMk id="37" creationId="{86AAF1D3-9C43-4D92-97CD-2AC0520F13CC}"/>
          </ac:spMkLst>
        </pc:spChg>
        <pc:spChg chg="mod">
          <ac:chgData name="Valentin GIANNINI" userId="282844b5-3252-425c-a805-4aeabb26e807" providerId="ADAL" clId="{ECFDD3D5-B7C7-4CC5-B35A-23D99CB1ED1B}" dt="2021-10-01T12:16:08.133" v="1545" actId="1038"/>
          <ac:spMkLst>
            <pc:docMk/>
            <pc:sldMk cId="1696930645" sldId="443"/>
            <ac:spMk id="57" creationId="{F5F5BD91-0313-4306-ACAD-F25D04FD37EC}"/>
          </ac:spMkLst>
        </pc:spChg>
        <pc:spChg chg="mod">
          <ac:chgData name="Valentin GIANNINI" userId="282844b5-3252-425c-a805-4aeabb26e807" providerId="ADAL" clId="{ECFDD3D5-B7C7-4CC5-B35A-23D99CB1ED1B}" dt="2021-10-01T09:07:17.518" v="1477" actId="1036"/>
          <ac:spMkLst>
            <pc:docMk/>
            <pc:sldMk cId="1696930645" sldId="443"/>
            <ac:spMk id="60" creationId="{FED8F934-8A77-4764-B817-CE00A9B69D18}"/>
          </ac:spMkLst>
        </pc:spChg>
        <pc:grpChg chg="mod">
          <ac:chgData name="Valentin GIANNINI" userId="282844b5-3252-425c-a805-4aeabb26e807" providerId="ADAL" clId="{ECFDD3D5-B7C7-4CC5-B35A-23D99CB1ED1B}" dt="2021-10-01T12:15:58.114" v="1505" actId="1076"/>
          <ac:grpSpMkLst>
            <pc:docMk/>
            <pc:sldMk cId="1696930645" sldId="443"/>
            <ac:grpSpMk id="2" creationId="{50010F97-A9CE-4192-8CE3-DAB1D6F1A95E}"/>
          </ac:grpSpMkLst>
        </pc:grpChg>
        <pc:grpChg chg="mod ord">
          <ac:chgData name="Valentin GIANNINI" userId="282844b5-3252-425c-a805-4aeabb26e807" providerId="ADAL" clId="{ECFDD3D5-B7C7-4CC5-B35A-23D99CB1ED1B}" dt="2021-10-01T12:16:17.425" v="1549" actId="14100"/>
          <ac:grpSpMkLst>
            <pc:docMk/>
            <pc:sldMk cId="1696930645" sldId="443"/>
            <ac:grpSpMk id="3" creationId="{50629D13-F737-49DC-8328-703D66CB4AA5}"/>
          </ac:grpSpMkLst>
        </pc:grpChg>
        <pc:grpChg chg="mod ord">
          <ac:chgData name="Valentin GIANNINI" userId="282844b5-3252-425c-a805-4aeabb26e807" providerId="ADAL" clId="{ECFDD3D5-B7C7-4CC5-B35A-23D99CB1ED1B}" dt="2021-10-01T12:16:12.593" v="1547" actId="14100"/>
          <ac:grpSpMkLst>
            <pc:docMk/>
            <pc:sldMk cId="1696930645" sldId="443"/>
            <ac:grpSpMk id="4" creationId="{FE85AACC-BFA7-459D-AC17-3CF963683473}"/>
          </ac:grpSpMkLst>
        </pc:grpChg>
        <pc:grpChg chg="add del mod">
          <ac:chgData name="Valentin GIANNINI" userId="282844b5-3252-425c-a805-4aeabb26e807" providerId="ADAL" clId="{ECFDD3D5-B7C7-4CC5-B35A-23D99CB1ED1B}" dt="2021-10-01T12:15:42.185" v="1493" actId="478"/>
          <ac:grpSpMkLst>
            <pc:docMk/>
            <pc:sldMk cId="1696930645" sldId="443"/>
            <ac:grpSpMk id="20" creationId="{8758E05B-4D52-4DD9-AC0F-B8B21E63175A}"/>
          </ac:grpSpMkLst>
        </pc:grpChg>
        <pc:picChg chg="add del mod modCrop">
          <ac:chgData name="Valentin GIANNINI" userId="282844b5-3252-425c-a805-4aeabb26e807" providerId="ADAL" clId="{ECFDD3D5-B7C7-4CC5-B35A-23D99CB1ED1B}" dt="2021-10-01T12:15:41.771" v="1492" actId="478"/>
          <ac:picMkLst>
            <pc:docMk/>
            <pc:sldMk cId="1696930645" sldId="443"/>
            <ac:picMk id="6" creationId="{15E2CD8F-8832-4740-8726-33F5BC4B6A82}"/>
          </ac:picMkLst>
        </pc:picChg>
        <pc:picChg chg="add del mod modCrop">
          <ac:chgData name="Valentin GIANNINI" userId="282844b5-3252-425c-a805-4aeabb26e807" providerId="ADAL" clId="{ECFDD3D5-B7C7-4CC5-B35A-23D99CB1ED1B}" dt="2021-10-01T09:01:00.190" v="1360" actId="478"/>
          <ac:picMkLst>
            <pc:docMk/>
            <pc:sldMk cId="1696930645" sldId="443"/>
            <ac:picMk id="8" creationId="{E3F9BC0F-E53F-4909-BE65-5BD565ED57C2}"/>
          </ac:picMkLst>
        </pc:picChg>
        <pc:picChg chg="add mod ord modCrop">
          <ac:chgData name="Valentin GIANNINI" userId="282844b5-3252-425c-a805-4aeabb26e807" providerId="ADAL" clId="{ECFDD3D5-B7C7-4CC5-B35A-23D99CB1ED1B}" dt="2021-10-01T09:03:59.378" v="1382" actId="164"/>
          <ac:picMkLst>
            <pc:docMk/>
            <pc:sldMk cId="1696930645" sldId="443"/>
            <ac:picMk id="10" creationId="{28D8EEFD-4BE7-4BE0-9924-C3C0B0805EB7}"/>
          </ac:picMkLst>
        </pc:picChg>
        <pc:picChg chg="add mod modCrop">
          <ac:chgData name="Valentin GIANNINI" userId="282844b5-3252-425c-a805-4aeabb26e807" providerId="ADAL" clId="{ECFDD3D5-B7C7-4CC5-B35A-23D99CB1ED1B}" dt="2021-10-01T09:03:59.378" v="1382" actId="164"/>
          <ac:picMkLst>
            <pc:docMk/>
            <pc:sldMk cId="1696930645" sldId="443"/>
            <ac:picMk id="12" creationId="{0C2ABA11-7247-4C9A-A334-86B81A4220B1}"/>
          </ac:picMkLst>
        </pc:picChg>
        <pc:picChg chg="add del mod">
          <ac:chgData name="Valentin GIANNINI" userId="282844b5-3252-425c-a805-4aeabb26e807" providerId="ADAL" clId="{ECFDD3D5-B7C7-4CC5-B35A-23D99CB1ED1B}" dt="2021-10-01T12:15:44.426" v="1495" actId="478"/>
          <ac:picMkLst>
            <pc:docMk/>
            <pc:sldMk cId="1696930645" sldId="443"/>
            <ac:picMk id="17" creationId="{35281EAD-6577-4A43-B18D-A6892EE1007F}"/>
          </ac:picMkLst>
        </pc:picChg>
        <pc:picChg chg="add del mod">
          <ac:chgData name="Valentin GIANNINI" userId="282844b5-3252-425c-a805-4aeabb26e807" providerId="ADAL" clId="{ECFDD3D5-B7C7-4CC5-B35A-23D99CB1ED1B}" dt="2021-10-01T12:15:44.964" v="1496" actId="478"/>
          <ac:picMkLst>
            <pc:docMk/>
            <pc:sldMk cId="1696930645" sldId="443"/>
            <ac:picMk id="19" creationId="{3D072E78-01F7-4F1D-B56F-5427AB44FFC8}"/>
          </ac:picMkLst>
        </pc:picChg>
        <pc:picChg chg="mod">
          <ac:chgData name="Valentin GIANNINI" userId="282844b5-3252-425c-a805-4aeabb26e807" providerId="ADAL" clId="{ECFDD3D5-B7C7-4CC5-B35A-23D99CB1ED1B}" dt="2021-10-01T09:07:11.815" v="1468" actId="1037"/>
          <ac:picMkLst>
            <pc:docMk/>
            <pc:sldMk cId="1696930645" sldId="443"/>
            <ac:picMk id="54" creationId="{92CA162F-D80E-4FC4-B212-F17B64CBFD1A}"/>
          </ac:picMkLst>
        </pc:picChg>
        <pc:picChg chg="mod">
          <ac:chgData name="Valentin GIANNINI" userId="282844b5-3252-425c-a805-4aeabb26e807" providerId="ADAL" clId="{ECFDD3D5-B7C7-4CC5-B35A-23D99CB1ED1B}" dt="2021-10-01T12:16:08.133" v="1545" actId="1038"/>
          <ac:picMkLst>
            <pc:docMk/>
            <pc:sldMk cId="1696930645" sldId="443"/>
            <ac:picMk id="56" creationId="{8DF3E83A-168D-42B9-84C1-4C073134D11A}"/>
          </ac:picMkLst>
        </pc:picChg>
        <pc:picChg chg="mod">
          <ac:chgData name="Valentin GIANNINI" userId="282844b5-3252-425c-a805-4aeabb26e807" providerId="ADAL" clId="{ECFDD3D5-B7C7-4CC5-B35A-23D99CB1ED1B}" dt="2021-10-01T09:07:17.518" v="1477" actId="1036"/>
          <ac:picMkLst>
            <pc:docMk/>
            <pc:sldMk cId="1696930645" sldId="443"/>
            <ac:picMk id="59" creationId="{C528F540-DA9A-413D-B204-EF9113606A35}"/>
          </ac:picMkLst>
        </pc:picChg>
      </pc:sldChg>
      <pc:sldChg chg="modSp mod">
        <pc:chgData name="Valentin GIANNINI" userId="282844b5-3252-425c-a805-4aeabb26e807" providerId="ADAL" clId="{ECFDD3D5-B7C7-4CC5-B35A-23D99CB1ED1B}" dt="2021-10-04T14:03:53.872" v="4258"/>
        <pc:sldMkLst>
          <pc:docMk/>
          <pc:sldMk cId="3500073032" sldId="452"/>
        </pc:sldMkLst>
        <pc:spChg chg="replST">
          <ac:chgData name="Valentin GIANNINI" userId="282844b5-3252-425c-a805-4aeabb26e807" providerId="ADAL" clId="{ECFDD3D5-B7C7-4CC5-B35A-23D99CB1ED1B}" dt="2021-10-04T14:03:53.859" v="4256"/>
          <ac:spMkLst>
            <pc:docMk/>
            <pc:sldMk cId="3500073032" sldId="452"/>
            <ac:spMk id="2" creationId="{3E2B16BF-D90E-4CAB-9297-C4D120D86C1A}"/>
          </ac:spMkLst>
        </pc:spChg>
        <pc:spChg chg="replST">
          <ac:chgData name="Valentin GIANNINI" userId="282844b5-3252-425c-a805-4aeabb26e807" providerId="ADAL" clId="{ECFDD3D5-B7C7-4CC5-B35A-23D99CB1ED1B}" dt="2021-10-04T14:03:53.852" v="4255"/>
          <ac:spMkLst>
            <pc:docMk/>
            <pc:sldMk cId="3500073032" sldId="452"/>
            <ac:spMk id="5" creationId="{6818AF18-CBB6-427B-A3E2-C96167856BB9}"/>
          </ac:spMkLst>
        </pc:spChg>
        <pc:spChg chg="replST">
          <ac:chgData name="Valentin GIANNINI" userId="282844b5-3252-425c-a805-4aeabb26e807" providerId="ADAL" clId="{ECFDD3D5-B7C7-4CC5-B35A-23D99CB1ED1B}" dt="2021-10-04T14:03:53.836" v="4253"/>
          <ac:spMkLst>
            <pc:docMk/>
            <pc:sldMk cId="3500073032" sldId="452"/>
            <ac:spMk id="6" creationId="{5E20247E-8AE2-9546-88DF-24BBEFC7E0A2}"/>
          </ac:spMkLst>
        </pc:spChg>
        <pc:spChg chg="replST">
          <ac:chgData name="Valentin GIANNINI" userId="282844b5-3252-425c-a805-4aeabb26e807" providerId="ADAL" clId="{ECFDD3D5-B7C7-4CC5-B35A-23D99CB1ED1B}" dt="2021-10-04T14:03:53.872" v="4258"/>
          <ac:spMkLst>
            <pc:docMk/>
            <pc:sldMk cId="3500073032" sldId="452"/>
            <ac:spMk id="13" creationId="{ECB5F9D2-5E2E-48F3-A835-C287D53FD216}"/>
          </ac:spMkLst>
        </pc:spChg>
        <pc:spChg chg="replST">
          <ac:chgData name="Valentin GIANNINI" userId="282844b5-3252-425c-a805-4aeabb26e807" providerId="ADAL" clId="{ECFDD3D5-B7C7-4CC5-B35A-23D99CB1ED1B}" dt="2021-10-04T14:03:53.829" v="4252"/>
          <ac:spMkLst>
            <pc:docMk/>
            <pc:sldMk cId="3500073032" sldId="452"/>
            <ac:spMk id="114" creationId="{00000000-0000-0000-0000-000000000000}"/>
          </ac:spMkLst>
        </pc:spChg>
        <pc:picChg chg="replST">
          <ac:chgData name="Valentin GIANNINI" userId="282844b5-3252-425c-a805-4aeabb26e807" providerId="ADAL" clId="{ECFDD3D5-B7C7-4CC5-B35A-23D99CB1ED1B}" dt="2021-10-04T14:03:53.844" v="4254"/>
          <ac:picMkLst>
            <pc:docMk/>
            <pc:sldMk cId="3500073032" sldId="452"/>
            <ac:picMk id="3" creationId="{3D77C924-8ACB-4330-8CDC-607FDAA26365}"/>
          </ac:picMkLst>
        </pc:picChg>
        <pc:picChg chg="replST">
          <ac:chgData name="Valentin GIANNINI" userId="282844b5-3252-425c-a805-4aeabb26e807" providerId="ADAL" clId="{ECFDD3D5-B7C7-4CC5-B35A-23D99CB1ED1B}" dt="2021-10-04T14:03:53.865" v="4257"/>
          <ac:picMkLst>
            <pc:docMk/>
            <pc:sldMk cId="3500073032" sldId="452"/>
            <ac:picMk id="8" creationId="{B998C903-BC62-4FF1-BD61-1421B3E22084}"/>
          </ac:picMkLst>
        </pc:picChg>
      </pc:sldChg>
      <pc:sldChg chg="modSp mod">
        <pc:chgData name="Valentin GIANNINI" userId="282844b5-3252-425c-a805-4aeabb26e807" providerId="ADAL" clId="{ECFDD3D5-B7C7-4CC5-B35A-23D99CB1ED1B}" dt="2021-10-04T14:03:53.916" v="4261"/>
        <pc:sldMkLst>
          <pc:docMk/>
          <pc:sldMk cId="2166528375" sldId="453"/>
        </pc:sldMkLst>
        <pc:spChg chg="replST">
          <ac:chgData name="Valentin GIANNINI" userId="282844b5-3252-425c-a805-4aeabb26e807" providerId="ADAL" clId="{ECFDD3D5-B7C7-4CC5-B35A-23D99CB1ED1B}" dt="2021-10-04T14:03:53.888" v="4260"/>
          <ac:spMkLst>
            <pc:docMk/>
            <pc:sldMk cId="2166528375" sldId="453"/>
            <ac:spMk id="6" creationId="{5E20247E-8AE2-9546-88DF-24BBEFC7E0A2}"/>
          </ac:spMkLst>
        </pc:spChg>
        <pc:spChg chg="replST">
          <ac:chgData name="Valentin GIANNINI" userId="282844b5-3252-425c-a805-4aeabb26e807" providerId="ADAL" clId="{ECFDD3D5-B7C7-4CC5-B35A-23D99CB1ED1B}" dt="2021-10-04T14:03:53.881" v="4259"/>
          <ac:spMkLst>
            <pc:docMk/>
            <pc:sldMk cId="2166528375" sldId="453"/>
            <ac:spMk id="114" creationId="{00000000-0000-0000-0000-000000000000}"/>
          </ac:spMkLst>
        </pc:spChg>
        <pc:picChg chg="replST">
          <ac:chgData name="Valentin GIANNINI" userId="282844b5-3252-425c-a805-4aeabb26e807" providerId="ADAL" clId="{ECFDD3D5-B7C7-4CC5-B35A-23D99CB1ED1B}" dt="2021-10-04T14:03:53.916" v="4261"/>
          <ac:picMkLst>
            <pc:docMk/>
            <pc:sldMk cId="2166528375" sldId="453"/>
            <ac:picMk id="3" creationId="{3D77C924-8ACB-4330-8CDC-607FDAA26365}"/>
          </ac:picMkLst>
        </pc:picChg>
      </pc:sldChg>
      <pc:sldChg chg="new del">
        <pc:chgData name="Valentin GIANNINI" userId="282844b5-3252-425c-a805-4aeabb26e807" providerId="ADAL" clId="{ECFDD3D5-B7C7-4CC5-B35A-23D99CB1ED1B}" dt="2021-09-24T11:12:49.873" v="1" actId="47"/>
        <pc:sldMkLst>
          <pc:docMk/>
          <pc:sldMk cId="757462219" sldId="457"/>
        </pc:sldMkLst>
      </pc:sldChg>
      <pc:sldChg chg="addSp delSp modSp new mod modAnim modNotesTx">
        <pc:chgData name="Valentin GIANNINI" userId="282844b5-3252-425c-a805-4aeabb26e807" providerId="ADAL" clId="{ECFDD3D5-B7C7-4CC5-B35A-23D99CB1ED1B}" dt="2021-10-04T14:03:54.132" v="4279"/>
        <pc:sldMkLst>
          <pc:docMk/>
          <pc:sldMk cId="3361285994" sldId="457"/>
        </pc:sldMkLst>
        <pc:spChg chg="add mod replST">
          <ac:chgData name="Valentin GIANNINI" userId="282844b5-3252-425c-a805-4aeabb26e807" providerId="ADAL" clId="{ECFDD3D5-B7C7-4CC5-B35A-23D99CB1ED1B}" dt="2021-10-04T14:03:54.095" v="4275"/>
          <ac:spMkLst>
            <pc:docMk/>
            <pc:sldMk cId="3361285994" sldId="457"/>
            <ac:spMk id="2" creationId="{23258FC2-8438-4CBA-AD6E-45B30001F109}"/>
          </ac:spMkLst>
        </pc:spChg>
        <pc:spChg chg="add mod replST">
          <ac:chgData name="Valentin GIANNINI" userId="282844b5-3252-425c-a805-4aeabb26e807" providerId="ADAL" clId="{ECFDD3D5-B7C7-4CC5-B35A-23D99CB1ED1B}" dt="2021-10-04T14:03:54.132" v="4279"/>
          <ac:spMkLst>
            <pc:docMk/>
            <pc:sldMk cId="3361285994" sldId="457"/>
            <ac:spMk id="3" creationId="{1986A9FF-99A1-47C1-8325-E093E4E0B48C}"/>
          </ac:spMkLst>
        </pc:spChg>
        <pc:spChg chg="add del mod">
          <ac:chgData name="Valentin GIANNINI" userId="282844b5-3252-425c-a805-4aeabb26e807" providerId="ADAL" clId="{ECFDD3D5-B7C7-4CC5-B35A-23D99CB1ED1B}" dt="2021-09-24T11:14:35.528" v="9"/>
          <ac:spMkLst>
            <pc:docMk/>
            <pc:sldMk cId="3361285994" sldId="457"/>
            <ac:spMk id="3" creationId="{83E0A57A-50DA-42C9-AD6B-9E2A730E6642}"/>
          </ac:spMkLst>
        </pc:spChg>
        <pc:spChg chg="add mod replST">
          <ac:chgData name="Valentin GIANNINI" userId="282844b5-3252-425c-a805-4aeabb26e807" providerId="ADAL" clId="{ECFDD3D5-B7C7-4CC5-B35A-23D99CB1ED1B}" dt="2021-10-04T14:03:54.103" v="4276"/>
          <ac:spMkLst>
            <pc:docMk/>
            <pc:sldMk cId="3361285994" sldId="457"/>
            <ac:spMk id="4" creationId="{3EDD771F-A26A-4179-B4A7-2335788933CC}"/>
          </ac:spMkLst>
        </pc:spChg>
        <pc:picChg chg="add del mod">
          <ac:chgData name="Valentin GIANNINI" userId="282844b5-3252-425c-a805-4aeabb26e807" providerId="ADAL" clId="{ECFDD3D5-B7C7-4CC5-B35A-23D99CB1ED1B}" dt="2021-09-29T13:47:10.113" v="380" actId="478"/>
          <ac:picMkLst>
            <pc:docMk/>
            <pc:sldMk cId="3361285994" sldId="457"/>
            <ac:picMk id="5" creationId="{679A1F28-BD8F-40D9-AA56-C535CEF66CBC}"/>
          </ac:picMkLst>
        </pc:picChg>
        <pc:picChg chg="add mod replST">
          <ac:chgData name="Valentin GIANNINI" userId="282844b5-3252-425c-a805-4aeabb26e807" providerId="ADAL" clId="{ECFDD3D5-B7C7-4CC5-B35A-23D99CB1ED1B}" dt="2021-10-04T14:03:54.114" v="4277"/>
          <ac:picMkLst>
            <pc:docMk/>
            <pc:sldMk cId="3361285994" sldId="457"/>
            <ac:picMk id="6" creationId="{E5367710-A2F4-4647-A784-DAC990519FCA}"/>
          </ac:picMkLst>
        </pc:picChg>
        <pc:picChg chg="add mod replST">
          <ac:chgData name="Valentin GIANNINI" userId="282844b5-3252-425c-a805-4aeabb26e807" providerId="ADAL" clId="{ECFDD3D5-B7C7-4CC5-B35A-23D99CB1ED1B}" dt="2021-10-04T14:03:54.122" v="4278"/>
          <ac:picMkLst>
            <pc:docMk/>
            <pc:sldMk cId="3361285994" sldId="457"/>
            <ac:picMk id="7" creationId="{B8C1AB3B-8694-4E76-9D27-853447FE4107}"/>
          </ac:picMkLst>
        </pc:picChg>
      </pc:sldChg>
      <pc:sldChg chg="new del">
        <pc:chgData name="Valentin GIANNINI" userId="282844b5-3252-425c-a805-4aeabb26e807" providerId="ADAL" clId="{ECFDD3D5-B7C7-4CC5-B35A-23D99CB1ED1B}" dt="2021-09-24T11:14:00.944" v="4" actId="47"/>
        <pc:sldMkLst>
          <pc:docMk/>
          <pc:sldMk cId="4157403849" sldId="457"/>
        </pc:sldMkLst>
      </pc:sldChg>
      <pc:sldChg chg="addSp delSp modSp new mod delAnim modAnim modNotesTx">
        <pc:chgData name="Valentin GIANNINI" userId="282844b5-3252-425c-a805-4aeabb26e807" providerId="ADAL" clId="{ECFDD3D5-B7C7-4CC5-B35A-23D99CB1ED1B}" dt="2021-10-04T14:03:54.246" v="4289"/>
        <pc:sldMkLst>
          <pc:docMk/>
          <pc:sldMk cId="1926376704" sldId="458"/>
        </pc:sldMkLst>
        <pc:spChg chg="add mod replST">
          <ac:chgData name="Valentin GIANNINI" userId="282844b5-3252-425c-a805-4aeabb26e807" providerId="ADAL" clId="{ECFDD3D5-B7C7-4CC5-B35A-23D99CB1ED1B}" dt="2021-10-04T14:03:54.144" v="4280"/>
          <ac:spMkLst>
            <pc:docMk/>
            <pc:sldMk cId="1926376704" sldId="458"/>
            <ac:spMk id="2" creationId="{52ADAF92-E5BC-486F-82F0-FC0A2847B1A4}"/>
          </ac:spMkLst>
        </pc:spChg>
        <pc:spChg chg="add mod replST">
          <ac:chgData name="Valentin GIANNINI" userId="282844b5-3252-425c-a805-4aeabb26e807" providerId="ADAL" clId="{ECFDD3D5-B7C7-4CC5-B35A-23D99CB1ED1B}" dt="2021-10-04T14:03:54.151" v="4281"/>
          <ac:spMkLst>
            <pc:docMk/>
            <pc:sldMk cId="1926376704" sldId="458"/>
            <ac:spMk id="3" creationId="{1504E2C4-5459-4EC7-9CE2-58CD68F8A722}"/>
          </ac:spMkLst>
        </pc:spChg>
        <pc:spChg chg="add mod replST">
          <ac:chgData name="Valentin GIANNINI" userId="282844b5-3252-425c-a805-4aeabb26e807" providerId="ADAL" clId="{ECFDD3D5-B7C7-4CC5-B35A-23D99CB1ED1B}" dt="2021-10-04T14:03:54.162" v="4282"/>
          <ac:spMkLst>
            <pc:docMk/>
            <pc:sldMk cId="1926376704" sldId="458"/>
            <ac:spMk id="4" creationId="{0C8FBDDC-A571-427E-B22F-6A2A37C238C1}"/>
          </ac:spMkLst>
        </pc:spChg>
        <pc:spChg chg="add mod replST">
          <ac:chgData name="Valentin GIANNINI" userId="282844b5-3252-425c-a805-4aeabb26e807" providerId="ADAL" clId="{ECFDD3D5-B7C7-4CC5-B35A-23D99CB1ED1B}" dt="2021-10-04T14:03:54.200" v="4285"/>
          <ac:spMkLst>
            <pc:docMk/>
            <pc:sldMk cId="1926376704" sldId="458"/>
            <ac:spMk id="6" creationId="{1A88F0BD-7D7A-4CA7-A8AD-3909C339CB7C}"/>
          </ac:spMkLst>
        </pc:spChg>
        <pc:spChg chg="add mod replST">
          <ac:chgData name="Valentin GIANNINI" userId="282844b5-3252-425c-a805-4aeabb26e807" providerId="ADAL" clId="{ECFDD3D5-B7C7-4CC5-B35A-23D99CB1ED1B}" dt="2021-10-04T14:03:54.214" v="4286"/>
          <ac:spMkLst>
            <pc:docMk/>
            <pc:sldMk cId="1926376704" sldId="458"/>
            <ac:spMk id="7" creationId="{1AAC40EB-A6E4-4E48-832F-AA7A9AFC39BB}"/>
          </ac:spMkLst>
        </pc:spChg>
        <pc:spChg chg="add mod replST">
          <ac:chgData name="Valentin GIANNINI" userId="282844b5-3252-425c-a805-4aeabb26e807" providerId="ADAL" clId="{ECFDD3D5-B7C7-4CC5-B35A-23D99CB1ED1B}" dt="2021-10-04T14:03:54.173" v="4283"/>
          <ac:spMkLst>
            <pc:docMk/>
            <pc:sldMk cId="1926376704" sldId="458"/>
            <ac:spMk id="12" creationId="{DA518D36-1E83-493D-8834-42A4543931F7}"/>
          </ac:spMkLst>
        </pc:spChg>
        <pc:spChg chg="add mod replST">
          <ac:chgData name="Valentin GIANNINI" userId="282844b5-3252-425c-a805-4aeabb26e807" providerId="ADAL" clId="{ECFDD3D5-B7C7-4CC5-B35A-23D99CB1ED1B}" dt="2021-10-04T14:03:54.186" v="4284"/>
          <ac:spMkLst>
            <pc:docMk/>
            <pc:sldMk cId="1926376704" sldId="458"/>
            <ac:spMk id="13" creationId="{D44C632E-9ABB-463F-A11F-E9B4DD317F09}"/>
          </ac:spMkLst>
        </pc:spChg>
        <pc:picChg chg="add mod replST">
          <ac:chgData name="Valentin GIANNINI" userId="282844b5-3252-425c-a805-4aeabb26e807" providerId="ADAL" clId="{ECFDD3D5-B7C7-4CC5-B35A-23D99CB1ED1B}" dt="2021-10-04T14:03:54.224" v="4287"/>
          <ac:picMkLst>
            <pc:docMk/>
            <pc:sldMk cId="1926376704" sldId="458"/>
            <ac:picMk id="5" creationId="{6AAB9130-0C37-4FFD-8AA2-03BCC50649F7}"/>
          </ac:picMkLst>
        </pc:picChg>
        <pc:picChg chg="add del mod">
          <ac:chgData name="Valentin GIANNINI" userId="282844b5-3252-425c-a805-4aeabb26e807" providerId="ADAL" clId="{ECFDD3D5-B7C7-4CC5-B35A-23D99CB1ED1B}" dt="2021-10-01T08:21:25.722" v="1216" actId="478"/>
          <ac:picMkLst>
            <pc:docMk/>
            <pc:sldMk cId="1926376704" sldId="458"/>
            <ac:picMk id="6" creationId="{8D8DA68D-2362-4A2E-96CB-00A0C42E1996}"/>
          </ac:picMkLst>
        </pc:picChg>
        <pc:picChg chg="add mod ord replST">
          <ac:chgData name="Valentin GIANNINI" userId="282844b5-3252-425c-a805-4aeabb26e807" providerId="ADAL" clId="{ECFDD3D5-B7C7-4CC5-B35A-23D99CB1ED1B}" dt="2021-10-04T14:03:54.236" v="4288"/>
          <ac:picMkLst>
            <pc:docMk/>
            <pc:sldMk cId="1926376704" sldId="458"/>
            <ac:picMk id="8" creationId="{E5B5F5A9-BAFD-4395-98B9-4B334E4F7F6B}"/>
          </ac:picMkLst>
        </pc:picChg>
        <pc:picChg chg="add del mod">
          <ac:chgData name="Valentin GIANNINI" userId="282844b5-3252-425c-a805-4aeabb26e807" providerId="ADAL" clId="{ECFDD3D5-B7C7-4CC5-B35A-23D99CB1ED1B}" dt="2021-09-30T13:05:57.111" v="688" actId="478"/>
          <ac:picMkLst>
            <pc:docMk/>
            <pc:sldMk cId="1926376704" sldId="458"/>
            <ac:picMk id="9" creationId="{879A9E7E-ACBA-4FAD-910F-72A01CC2E413}"/>
          </ac:picMkLst>
        </pc:picChg>
        <pc:picChg chg="add del mod">
          <ac:chgData name="Valentin GIANNINI" userId="282844b5-3252-425c-a805-4aeabb26e807" providerId="ADAL" clId="{ECFDD3D5-B7C7-4CC5-B35A-23D99CB1ED1B}" dt="2021-09-30T13:05:55.802" v="687" actId="478"/>
          <ac:picMkLst>
            <pc:docMk/>
            <pc:sldMk cId="1926376704" sldId="458"/>
            <ac:picMk id="11" creationId="{059D8B02-3B5F-4225-9CD2-8911D587CFBB}"/>
          </ac:picMkLst>
        </pc:picChg>
        <pc:picChg chg="add mod ord replST">
          <ac:chgData name="Valentin GIANNINI" userId="282844b5-3252-425c-a805-4aeabb26e807" providerId="ADAL" clId="{ECFDD3D5-B7C7-4CC5-B35A-23D99CB1ED1B}" dt="2021-10-04T14:03:54.246" v="4289"/>
          <ac:picMkLst>
            <pc:docMk/>
            <pc:sldMk cId="1926376704" sldId="458"/>
            <ac:picMk id="14" creationId="{A556DE4B-4CC2-4C7F-86A4-F5B6DF960B87}"/>
          </ac:picMkLst>
        </pc:picChg>
      </pc:sldChg>
      <pc:sldChg chg="addSp delSp modSp new mod delAnim modAnim addCm delCm">
        <pc:chgData name="Valentin GIANNINI" userId="282844b5-3252-425c-a805-4aeabb26e807" providerId="ADAL" clId="{ECFDD3D5-B7C7-4CC5-B35A-23D99CB1ED1B}" dt="2021-10-04T14:03:54.330" v="4296"/>
        <pc:sldMkLst>
          <pc:docMk/>
          <pc:sldMk cId="1906424831" sldId="459"/>
        </pc:sldMkLst>
        <pc:spChg chg="add mod replST">
          <ac:chgData name="Valentin GIANNINI" userId="282844b5-3252-425c-a805-4aeabb26e807" providerId="ADAL" clId="{ECFDD3D5-B7C7-4CC5-B35A-23D99CB1ED1B}" dt="2021-10-04T14:03:54.330" v="4296"/>
          <ac:spMkLst>
            <pc:docMk/>
            <pc:sldMk cId="1906424831" sldId="459"/>
            <ac:spMk id="2" creationId="{49EF55FD-BC59-40EE-86E7-513B3FE9284E}"/>
          </ac:spMkLst>
        </pc:spChg>
        <pc:spChg chg="add del">
          <ac:chgData name="Valentin GIANNINI" userId="282844b5-3252-425c-a805-4aeabb26e807" providerId="ADAL" clId="{ECFDD3D5-B7C7-4CC5-B35A-23D99CB1ED1B}" dt="2021-09-24T11:27:54.315" v="208" actId="22"/>
          <ac:spMkLst>
            <pc:docMk/>
            <pc:sldMk cId="1906424831" sldId="459"/>
            <ac:spMk id="3" creationId="{E0A4649C-42DF-4116-BE66-7F59C404B880}"/>
          </ac:spMkLst>
        </pc:spChg>
        <pc:spChg chg="add mod replST">
          <ac:chgData name="Valentin GIANNINI" userId="282844b5-3252-425c-a805-4aeabb26e807" providerId="ADAL" clId="{ECFDD3D5-B7C7-4CC5-B35A-23D99CB1ED1B}" dt="2021-10-04T14:03:54.297" v="4291"/>
          <ac:spMkLst>
            <pc:docMk/>
            <pc:sldMk cId="1906424831" sldId="459"/>
            <ac:spMk id="4" creationId="{51B76309-DC50-46C1-8241-C5D5318F40D2}"/>
          </ac:spMkLst>
        </pc:spChg>
        <pc:spChg chg="add mod replST">
          <ac:chgData name="Valentin GIANNINI" userId="282844b5-3252-425c-a805-4aeabb26e807" providerId="ADAL" clId="{ECFDD3D5-B7C7-4CC5-B35A-23D99CB1ED1B}" dt="2021-10-04T14:03:54.303" v="4292"/>
          <ac:spMkLst>
            <pc:docMk/>
            <pc:sldMk cId="1906424831" sldId="459"/>
            <ac:spMk id="5" creationId="{7A3882F4-9DAB-482B-A325-394A9E9E1CEF}"/>
          </ac:spMkLst>
        </pc:spChg>
        <pc:picChg chg="add del mod">
          <ac:chgData name="Valentin GIANNINI" userId="282844b5-3252-425c-a805-4aeabb26e807" providerId="ADAL" clId="{ECFDD3D5-B7C7-4CC5-B35A-23D99CB1ED1B}" dt="2021-10-04T11:43:35.619" v="3912" actId="478"/>
          <ac:picMkLst>
            <pc:docMk/>
            <pc:sldMk cId="1906424831" sldId="459"/>
            <ac:picMk id="6" creationId="{AB19C2BC-924E-4255-988B-EB9C04247A12}"/>
          </ac:picMkLst>
        </pc:picChg>
        <pc:picChg chg="add mod replST">
          <ac:chgData name="Valentin GIANNINI" userId="282844b5-3252-425c-a805-4aeabb26e807" providerId="ADAL" clId="{ECFDD3D5-B7C7-4CC5-B35A-23D99CB1ED1B}" dt="2021-10-04T14:03:54.310" v="4293"/>
          <ac:picMkLst>
            <pc:docMk/>
            <pc:sldMk cId="1906424831" sldId="459"/>
            <ac:picMk id="7" creationId="{AE3D6537-33D9-4157-956D-8B8DAD5832FC}"/>
          </ac:picMkLst>
        </pc:picChg>
        <pc:picChg chg="add mod replST">
          <ac:chgData name="Valentin GIANNINI" userId="282844b5-3252-425c-a805-4aeabb26e807" providerId="ADAL" clId="{ECFDD3D5-B7C7-4CC5-B35A-23D99CB1ED1B}" dt="2021-10-04T14:03:54.316" v="4294"/>
          <ac:picMkLst>
            <pc:docMk/>
            <pc:sldMk cId="1906424831" sldId="459"/>
            <ac:picMk id="8" creationId="{03A9849B-044F-4976-85B1-1B1B3EB1CCB9}"/>
          </ac:picMkLst>
        </pc:picChg>
        <pc:picChg chg="add mod replST">
          <ac:chgData name="Valentin GIANNINI" userId="282844b5-3252-425c-a805-4aeabb26e807" providerId="ADAL" clId="{ECFDD3D5-B7C7-4CC5-B35A-23D99CB1ED1B}" dt="2021-10-04T14:03:54.324" v="4295"/>
          <ac:picMkLst>
            <pc:docMk/>
            <pc:sldMk cId="1906424831" sldId="459"/>
            <ac:picMk id="9" creationId="{C8674641-C656-4AFB-8306-1EFC39D264DB}"/>
          </ac:picMkLst>
        </pc:picChg>
        <pc:picChg chg="add mod replST">
          <ac:chgData name="Valentin GIANNINI" userId="282844b5-3252-425c-a805-4aeabb26e807" providerId="ADAL" clId="{ECFDD3D5-B7C7-4CC5-B35A-23D99CB1ED1B}" dt="2021-10-04T14:03:54.289" v="4290"/>
          <ac:picMkLst>
            <pc:docMk/>
            <pc:sldMk cId="1906424831" sldId="459"/>
            <ac:picMk id="10" creationId="{013EEE5D-B5B2-418E-A72A-8B73E1E06756}"/>
          </ac:picMkLst>
        </pc:picChg>
      </pc:sldChg>
      <pc:sldChg chg="addSp modSp new mod modAnim modNotesTx">
        <pc:chgData name="Valentin GIANNINI" userId="282844b5-3252-425c-a805-4aeabb26e807" providerId="ADAL" clId="{ECFDD3D5-B7C7-4CC5-B35A-23D99CB1ED1B}" dt="2021-10-04T14:03:54.374" v="4301"/>
        <pc:sldMkLst>
          <pc:docMk/>
          <pc:sldMk cId="315501203" sldId="460"/>
        </pc:sldMkLst>
        <pc:spChg chg="add mod replST">
          <ac:chgData name="Valentin GIANNINI" userId="282844b5-3252-425c-a805-4aeabb26e807" providerId="ADAL" clId="{ECFDD3D5-B7C7-4CC5-B35A-23D99CB1ED1B}" dt="2021-10-04T14:03:54.341" v="4297"/>
          <ac:spMkLst>
            <pc:docMk/>
            <pc:sldMk cId="315501203" sldId="460"/>
            <ac:spMk id="2" creationId="{67ADDAAC-6641-4395-8652-12E3D2CDA8E5}"/>
          </ac:spMkLst>
        </pc:spChg>
        <pc:spChg chg="add mod replST">
          <ac:chgData name="Valentin GIANNINI" userId="282844b5-3252-425c-a805-4aeabb26e807" providerId="ADAL" clId="{ECFDD3D5-B7C7-4CC5-B35A-23D99CB1ED1B}" dt="2021-10-04T14:03:54.347" v="4298"/>
          <ac:spMkLst>
            <pc:docMk/>
            <pc:sldMk cId="315501203" sldId="460"/>
            <ac:spMk id="3" creationId="{6377E8BE-452F-4666-A784-50D0FC080972}"/>
          </ac:spMkLst>
        </pc:spChg>
        <pc:picChg chg="add mod replST">
          <ac:chgData name="Valentin GIANNINI" userId="282844b5-3252-425c-a805-4aeabb26e807" providerId="ADAL" clId="{ECFDD3D5-B7C7-4CC5-B35A-23D99CB1ED1B}" dt="2021-10-04T14:03:54.353" v="4299"/>
          <ac:picMkLst>
            <pc:docMk/>
            <pc:sldMk cId="315501203" sldId="460"/>
            <ac:picMk id="4" creationId="{AB3F4BE8-BA05-4E90-8BA6-4F9733A4E9BC}"/>
          </ac:picMkLst>
        </pc:picChg>
        <pc:picChg chg="add mod replST">
          <ac:chgData name="Valentin GIANNINI" userId="282844b5-3252-425c-a805-4aeabb26e807" providerId="ADAL" clId="{ECFDD3D5-B7C7-4CC5-B35A-23D99CB1ED1B}" dt="2021-10-04T14:03:54.365" v="4300"/>
          <ac:picMkLst>
            <pc:docMk/>
            <pc:sldMk cId="315501203" sldId="460"/>
            <ac:picMk id="5" creationId="{BE50C9B2-2BA7-4EC1-AD68-F581DA359C25}"/>
          </ac:picMkLst>
        </pc:picChg>
        <pc:picChg chg="add mod replST">
          <ac:chgData name="Valentin GIANNINI" userId="282844b5-3252-425c-a805-4aeabb26e807" providerId="ADAL" clId="{ECFDD3D5-B7C7-4CC5-B35A-23D99CB1ED1B}" dt="2021-10-04T14:03:54.374" v="4301"/>
          <ac:picMkLst>
            <pc:docMk/>
            <pc:sldMk cId="315501203" sldId="460"/>
            <ac:picMk id="7" creationId="{5B59B884-27AE-410E-AB5B-D05EC79061CD}"/>
          </ac:picMkLst>
        </pc:picChg>
      </pc:sldChg>
      <pc:sldChg chg="modSp mod ord">
        <pc:chgData name="Valentin GIANNINI" userId="282844b5-3252-425c-a805-4aeabb26e807" providerId="ADAL" clId="{ECFDD3D5-B7C7-4CC5-B35A-23D99CB1ED1B}" dt="2021-10-04T14:03:52.944" v="4169"/>
        <pc:sldMkLst>
          <pc:docMk/>
          <pc:sldMk cId="344247155" sldId="461"/>
        </pc:sldMkLst>
        <pc:spChg chg="replST">
          <ac:chgData name="Valentin GIANNINI" userId="282844b5-3252-425c-a805-4aeabb26e807" providerId="ADAL" clId="{ECFDD3D5-B7C7-4CC5-B35A-23D99CB1ED1B}" dt="2021-10-04T14:03:52.927" v="4168"/>
          <ac:spMkLst>
            <pc:docMk/>
            <pc:sldMk cId="344247155" sldId="461"/>
            <ac:spMk id="6" creationId="{4063E0E6-B684-451F-9A13-AEB37A3B099D}"/>
          </ac:spMkLst>
        </pc:spChg>
        <pc:spChg chg="replST">
          <ac:chgData name="Valentin GIANNINI" userId="282844b5-3252-425c-a805-4aeabb26e807" providerId="ADAL" clId="{ECFDD3D5-B7C7-4CC5-B35A-23D99CB1ED1B}" dt="2021-10-04T14:03:52.871" v="4164"/>
          <ac:spMkLst>
            <pc:docMk/>
            <pc:sldMk cId="344247155" sldId="461"/>
            <ac:spMk id="7" creationId="{05D1B5EE-240F-814A-AF5F-859388321503}"/>
          </ac:spMkLst>
        </pc:spChg>
        <pc:spChg chg="replST">
          <ac:chgData name="Valentin GIANNINI" userId="282844b5-3252-425c-a805-4aeabb26e807" providerId="ADAL" clId="{ECFDD3D5-B7C7-4CC5-B35A-23D99CB1ED1B}" dt="2021-10-04T14:03:52.884" v="4165"/>
          <ac:spMkLst>
            <pc:docMk/>
            <pc:sldMk cId="344247155" sldId="461"/>
            <ac:spMk id="14" creationId="{ADE24960-3DC1-4F40-8705-D09E167A0C53}"/>
          </ac:spMkLst>
        </pc:spChg>
        <pc:spChg chg="replST">
          <ac:chgData name="Valentin GIANNINI" userId="282844b5-3252-425c-a805-4aeabb26e807" providerId="ADAL" clId="{ECFDD3D5-B7C7-4CC5-B35A-23D99CB1ED1B}" dt="2021-10-04T14:03:52.898" v="4166"/>
          <ac:spMkLst>
            <pc:docMk/>
            <pc:sldMk cId="344247155" sldId="461"/>
            <ac:spMk id="15" creationId="{876AB4B5-129A-7F43-9340-1BAF49B9B459}"/>
          </ac:spMkLst>
        </pc:spChg>
        <pc:spChg chg="replST">
          <ac:chgData name="Valentin GIANNINI" userId="282844b5-3252-425c-a805-4aeabb26e807" providerId="ADAL" clId="{ECFDD3D5-B7C7-4CC5-B35A-23D99CB1ED1B}" dt="2021-10-04T14:03:52.944" v="4169"/>
          <ac:spMkLst>
            <pc:docMk/>
            <pc:sldMk cId="344247155" sldId="461"/>
            <ac:spMk id="20" creationId="{2B8CC9A3-E53A-48FC-A1DE-A5BBF8D87DCA}"/>
          </ac:spMkLst>
        </pc:spChg>
        <pc:grpChg chg="replST">
          <ac:chgData name="Valentin GIANNINI" userId="282844b5-3252-425c-a805-4aeabb26e807" providerId="ADAL" clId="{ECFDD3D5-B7C7-4CC5-B35A-23D99CB1ED1B}" dt="2021-10-04T14:03:52.912" v="4167"/>
          <ac:grpSpMkLst>
            <pc:docMk/>
            <pc:sldMk cId="344247155" sldId="461"/>
            <ac:grpSpMk id="17" creationId="{963E893A-AEA7-46A0-83FA-1BEA3EFF4403}"/>
          </ac:grpSpMkLst>
        </pc:grpChg>
      </pc:sldChg>
      <pc:sldChg chg="addSp delSp modSp mod ord">
        <pc:chgData name="Valentin GIANNINI" userId="282844b5-3252-425c-a805-4aeabb26e807" providerId="ADAL" clId="{ECFDD3D5-B7C7-4CC5-B35A-23D99CB1ED1B}" dt="2021-10-04T14:03:53.221" v="4196"/>
        <pc:sldMkLst>
          <pc:docMk/>
          <pc:sldMk cId="3646406489" sldId="462"/>
        </pc:sldMkLst>
        <pc:spChg chg="del">
          <ac:chgData name="Valentin GIANNINI" userId="282844b5-3252-425c-a805-4aeabb26e807" providerId="ADAL" clId="{ECFDD3D5-B7C7-4CC5-B35A-23D99CB1ED1B}" dt="2021-09-30T12:51:06.161" v="641" actId="478"/>
          <ac:spMkLst>
            <pc:docMk/>
            <pc:sldMk cId="3646406489" sldId="462"/>
            <ac:spMk id="3" creationId="{FAF8ABC7-4156-724A-9E08-9C2C801E7491}"/>
          </ac:spMkLst>
        </pc:spChg>
        <pc:spChg chg="mod replST">
          <ac:chgData name="Valentin GIANNINI" userId="282844b5-3252-425c-a805-4aeabb26e807" providerId="ADAL" clId="{ECFDD3D5-B7C7-4CC5-B35A-23D99CB1ED1B}" dt="2021-10-04T14:03:53.138" v="4186"/>
          <ac:spMkLst>
            <pc:docMk/>
            <pc:sldMk cId="3646406489" sldId="462"/>
            <ac:spMk id="4" creationId="{0E87D8D9-34E4-CF48-A15B-512199FF8322}"/>
          </ac:spMkLst>
        </pc:spChg>
        <pc:spChg chg="replST">
          <ac:chgData name="Valentin GIANNINI" userId="282844b5-3252-425c-a805-4aeabb26e807" providerId="ADAL" clId="{ECFDD3D5-B7C7-4CC5-B35A-23D99CB1ED1B}" dt="2021-10-04T14:03:53.146" v="4187"/>
          <ac:spMkLst>
            <pc:docMk/>
            <pc:sldMk cId="3646406489" sldId="462"/>
            <ac:spMk id="6" creationId="{32C6BDDD-F533-2041-965A-8F8BEF34BDD6}"/>
          </ac:spMkLst>
        </pc:spChg>
        <pc:spChg chg="add del mod">
          <ac:chgData name="Valentin GIANNINI" userId="282844b5-3252-425c-a805-4aeabb26e807" providerId="ADAL" clId="{ECFDD3D5-B7C7-4CC5-B35A-23D99CB1ED1B}" dt="2021-09-30T12:51:04.076" v="640"/>
          <ac:spMkLst>
            <pc:docMk/>
            <pc:sldMk cId="3646406489" sldId="462"/>
            <ac:spMk id="8" creationId="{4B119715-5D11-4505-94CA-DAC5F1106FBF}"/>
          </ac:spMkLst>
        </pc:spChg>
        <pc:spChg chg="add mod replST">
          <ac:chgData name="Valentin GIANNINI" userId="282844b5-3252-425c-a805-4aeabb26e807" providerId="ADAL" clId="{ECFDD3D5-B7C7-4CC5-B35A-23D99CB1ED1B}" dt="2021-10-04T14:03:53.167" v="4190"/>
          <ac:spMkLst>
            <pc:docMk/>
            <pc:sldMk cId="3646406489" sldId="462"/>
            <ac:spMk id="9" creationId="{358B959F-C6C3-4AF8-AAA9-9D63DCC260CB}"/>
          </ac:spMkLst>
        </pc:spChg>
        <pc:grpChg chg="replST">
          <ac:chgData name="Valentin GIANNINI" userId="282844b5-3252-425c-a805-4aeabb26e807" providerId="ADAL" clId="{ECFDD3D5-B7C7-4CC5-B35A-23D99CB1ED1B}" dt="2021-10-04T14:03:53.221" v="4196"/>
          <ac:grpSpMkLst>
            <pc:docMk/>
            <pc:sldMk cId="3646406489" sldId="462"/>
            <ac:grpSpMk id="31" creationId="{A21468A7-6BF1-4484-B8D7-A1E477B4A15D}"/>
          </ac:grpSpMkLst>
        </pc:grpChg>
        <pc:grpChg chg="replST">
          <ac:chgData name="Valentin GIANNINI" userId="282844b5-3252-425c-a805-4aeabb26e807" providerId="ADAL" clId="{ECFDD3D5-B7C7-4CC5-B35A-23D99CB1ED1B}" dt="2021-10-04T14:03:53.212" v="4195"/>
          <ac:grpSpMkLst>
            <pc:docMk/>
            <pc:sldMk cId="3646406489" sldId="462"/>
            <ac:grpSpMk id="32" creationId="{8E9C8F95-1AFE-4606-B931-99524515E1D2}"/>
          </ac:grpSpMkLst>
        </pc:grpChg>
        <pc:grpChg chg="replST">
          <ac:chgData name="Valentin GIANNINI" userId="282844b5-3252-425c-a805-4aeabb26e807" providerId="ADAL" clId="{ECFDD3D5-B7C7-4CC5-B35A-23D99CB1ED1B}" dt="2021-10-04T14:03:53.203" v="4194"/>
          <ac:grpSpMkLst>
            <pc:docMk/>
            <pc:sldMk cId="3646406489" sldId="462"/>
            <ac:grpSpMk id="33" creationId="{85C4A845-040C-40A9-9BB2-C23577D36122}"/>
          </ac:grpSpMkLst>
        </pc:grpChg>
        <pc:grpChg chg="replST">
          <ac:chgData name="Valentin GIANNINI" userId="282844b5-3252-425c-a805-4aeabb26e807" providerId="ADAL" clId="{ECFDD3D5-B7C7-4CC5-B35A-23D99CB1ED1B}" dt="2021-10-04T14:03:53.191" v="4193"/>
          <ac:grpSpMkLst>
            <pc:docMk/>
            <pc:sldMk cId="3646406489" sldId="462"/>
            <ac:grpSpMk id="34" creationId="{AC927F0D-6770-492F-985F-BB0C5878AF40}"/>
          </ac:grpSpMkLst>
        </pc:grpChg>
        <pc:grpChg chg="replST">
          <ac:chgData name="Valentin GIANNINI" userId="282844b5-3252-425c-a805-4aeabb26e807" providerId="ADAL" clId="{ECFDD3D5-B7C7-4CC5-B35A-23D99CB1ED1B}" dt="2021-10-04T14:03:53.181" v="4192"/>
          <ac:grpSpMkLst>
            <pc:docMk/>
            <pc:sldMk cId="3646406489" sldId="462"/>
            <ac:grpSpMk id="35" creationId="{7A6A0A94-423B-4D2D-B1B1-519884EF8C45}"/>
          </ac:grpSpMkLst>
        </pc:grpChg>
        <pc:grpChg chg="replST">
          <ac:chgData name="Valentin GIANNINI" userId="282844b5-3252-425c-a805-4aeabb26e807" providerId="ADAL" clId="{ECFDD3D5-B7C7-4CC5-B35A-23D99CB1ED1B}" dt="2021-10-04T14:03:53.175" v="4191"/>
          <ac:grpSpMkLst>
            <pc:docMk/>
            <pc:sldMk cId="3646406489" sldId="462"/>
            <ac:grpSpMk id="36" creationId="{F87077FE-FAA9-4C52-8017-18D19143075A}"/>
          </ac:grpSpMkLst>
        </pc:grpChg>
        <pc:graphicFrameChg chg="replST">
          <ac:chgData name="Valentin GIANNINI" userId="282844b5-3252-425c-a805-4aeabb26e807" providerId="ADAL" clId="{ECFDD3D5-B7C7-4CC5-B35A-23D99CB1ED1B}" dt="2021-10-04T14:03:53.153" v="4188"/>
          <ac:graphicFrameMkLst>
            <pc:docMk/>
            <pc:sldMk cId="3646406489" sldId="462"/>
            <ac:graphicFrameMk id="7" creationId="{836167B7-6775-3E4A-B03C-A4B9E52D0726}"/>
          </ac:graphicFrameMkLst>
        </pc:graphicFrameChg>
        <pc:picChg chg="replST">
          <ac:chgData name="Valentin GIANNINI" userId="282844b5-3252-425c-a805-4aeabb26e807" providerId="ADAL" clId="{ECFDD3D5-B7C7-4CC5-B35A-23D99CB1ED1B}" dt="2021-10-04T14:03:53.161" v="4189"/>
          <ac:picMkLst>
            <pc:docMk/>
            <pc:sldMk cId="3646406489" sldId="462"/>
            <ac:picMk id="5" creationId="{46C70B22-3337-4E7F-BDB7-E7BC3B0F8CE9}"/>
          </ac:picMkLst>
        </pc:picChg>
      </pc:sldChg>
      <pc:sldChg chg="modSp mod ord">
        <pc:chgData name="Valentin GIANNINI" userId="282844b5-3252-425c-a805-4aeabb26e807" providerId="ADAL" clId="{ECFDD3D5-B7C7-4CC5-B35A-23D99CB1ED1B}" dt="2021-10-04T14:03:52.994" v="4173"/>
        <pc:sldMkLst>
          <pc:docMk/>
          <pc:sldMk cId="950167900" sldId="463"/>
        </pc:sldMkLst>
        <pc:spChg chg="replST">
          <ac:chgData name="Valentin GIANNINI" userId="282844b5-3252-425c-a805-4aeabb26e807" providerId="ADAL" clId="{ECFDD3D5-B7C7-4CC5-B35A-23D99CB1ED1B}" dt="2021-10-04T14:03:52.984" v="4172"/>
          <ac:spMkLst>
            <pc:docMk/>
            <pc:sldMk cId="950167900" sldId="463"/>
            <ac:spMk id="2" creationId="{2CEF1B7E-C78A-4E45-AF68-C88303977A3F}"/>
          </ac:spMkLst>
        </pc:spChg>
        <pc:spChg chg="replST">
          <ac:chgData name="Valentin GIANNINI" userId="282844b5-3252-425c-a805-4aeabb26e807" providerId="ADAL" clId="{ECFDD3D5-B7C7-4CC5-B35A-23D99CB1ED1B}" dt="2021-10-04T14:03:52.962" v="4170"/>
          <ac:spMkLst>
            <pc:docMk/>
            <pc:sldMk cId="950167900" sldId="463"/>
            <ac:spMk id="14" creationId="{ADE24960-3DC1-4F40-8705-D09E167A0C53}"/>
          </ac:spMkLst>
        </pc:spChg>
        <pc:spChg chg="replST">
          <ac:chgData name="Valentin GIANNINI" userId="282844b5-3252-425c-a805-4aeabb26e807" providerId="ADAL" clId="{ECFDD3D5-B7C7-4CC5-B35A-23D99CB1ED1B}" dt="2021-10-04T14:03:52.972" v="4171"/>
          <ac:spMkLst>
            <pc:docMk/>
            <pc:sldMk cId="950167900" sldId="463"/>
            <ac:spMk id="15" creationId="{876AB4B5-129A-7F43-9340-1BAF49B9B459}"/>
          </ac:spMkLst>
        </pc:spChg>
        <pc:picChg chg="replST">
          <ac:chgData name="Valentin GIANNINI" userId="282844b5-3252-425c-a805-4aeabb26e807" providerId="ADAL" clId="{ECFDD3D5-B7C7-4CC5-B35A-23D99CB1ED1B}" dt="2021-10-04T14:03:52.994" v="4173"/>
          <ac:picMkLst>
            <pc:docMk/>
            <pc:sldMk cId="950167900" sldId="463"/>
            <ac:picMk id="28" creationId="{B1F62134-82CF-469E-873E-92E881925F7F}"/>
          </ac:picMkLst>
        </pc:picChg>
      </pc:sldChg>
      <pc:sldChg chg="modSp mod ord addCm delCm modCm">
        <pc:chgData name="Valentin GIANNINI" userId="282844b5-3252-425c-a805-4aeabb26e807" providerId="ADAL" clId="{ECFDD3D5-B7C7-4CC5-B35A-23D99CB1ED1B}" dt="2021-10-04T14:03:53.033" v="4177"/>
        <pc:sldMkLst>
          <pc:docMk/>
          <pc:sldMk cId="3768523349" sldId="466"/>
        </pc:sldMkLst>
        <pc:spChg chg="replST">
          <ac:chgData name="Valentin GIANNINI" userId="282844b5-3252-425c-a805-4aeabb26e807" providerId="ADAL" clId="{ECFDD3D5-B7C7-4CC5-B35A-23D99CB1ED1B}" dt="2021-10-04T14:03:53.025" v="4176"/>
          <ac:spMkLst>
            <pc:docMk/>
            <pc:sldMk cId="3768523349" sldId="466"/>
            <ac:spMk id="5" creationId="{8B42332C-E03B-4F53-B7CE-BC37999C8DC8}"/>
          </ac:spMkLst>
        </pc:spChg>
        <pc:spChg chg="mod replST">
          <ac:chgData name="Valentin GIANNINI" userId="282844b5-3252-425c-a805-4aeabb26e807" providerId="ADAL" clId="{ECFDD3D5-B7C7-4CC5-B35A-23D99CB1ED1B}" dt="2021-10-04T14:03:53.007" v="4174"/>
          <ac:spMkLst>
            <pc:docMk/>
            <pc:sldMk cId="3768523349" sldId="466"/>
            <ac:spMk id="14" creationId="{ADE24960-3DC1-4F40-8705-D09E167A0C53}"/>
          </ac:spMkLst>
        </pc:spChg>
        <pc:grpChg chg="replST">
          <ac:chgData name="Valentin GIANNINI" userId="282844b5-3252-425c-a805-4aeabb26e807" providerId="ADAL" clId="{ECFDD3D5-B7C7-4CC5-B35A-23D99CB1ED1B}" dt="2021-10-04T14:03:53.033" v="4177"/>
          <ac:grpSpMkLst>
            <pc:docMk/>
            <pc:sldMk cId="3768523349" sldId="466"/>
            <ac:grpSpMk id="17" creationId="{A259B8C5-CF0E-41D6-87C9-38ADA558328A}"/>
          </ac:grpSpMkLst>
        </pc:grpChg>
        <pc:graphicFrameChg chg="mod replST modGraphic">
          <ac:chgData name="Valentin GIANNINI" userId="282844b5-3252-425c-a805-4aeabb26e807" providerId="ADAL" clId="{ECFDD3D5-B7C7-4CC5-B35A-23D99CB1ED1B}" dt="2021-10-04T14:03:53.016" v="4175"/>
          <ac:graphicFrameMkLst>
            <pc:docMk/>
            <pc:sldMk cId="3768523349" sldId="466"/>
            <ac:graphicFrameMk id="2" creationId="{6A0EECAD-3F4D-4D4D-85CD-0E1ABE4D71F3}"/>
          </ac:graphicFrameMkLst>
        </pc:graphicFrameChg>
      </pc:sldChg>
      <pc:sldChg chg="modSp mod ord">
        <pc:chgData name="Valentin GIANNINI" userId="282844b5-3252-425c-a805-4aeabb26e807" providerId="ADAL" clId="{ECFDD3D5-B7C7-4CC5-B35A-23D99CB1ED1B}" dt="2021-10-04T14:03:53.089" v="4181"/>
        <pc:sldMkLst>
          <pc:docMk/>
          <pc:sldMk cId="2889930414" sldId="467"/>
        </pc:sldMkLst>
        <pc:spChg chg="replST">
          <ac:chgData name="Valentin GIANNINI" userId="282844b5-3252-425c-a805-4aeabb26e807" providerId="ADAL" clId="{ECFDD3D5-B7C7-4CC5-B35A-23D99CB1ED1B}" dt="2021-10-04T14:03:53.079" v="4180"/>
          <ac:spMkLst>
            <pc:docMk/>
            <pc:sldMk cId="2889930414" sldId="467"/>
            <ac:spMk id="4" creationId="{DAED5303-9386-4371-B9B0-CFC81F682F67}"/>
          </ac:spMkLst>
        </pc:spChg>
        <pc:spChg chg="mod replST">
          <ac:chgData name="Valentin GIANNINI" userId="282844b5-3252-425c-a805-4aeabb26e807" providerId="ADAL" clId="{ECFDD3D5-B7C7-4CC5-B35A-23D99CB1ED1B}" dt="2021-10-04T14:03:53.059" v="4178"/>
          <ac:spMkLst>
            <pc:docMk/>
            <pc:sldMk cId="2889930414" sldId="467"/>
            <ac:spMk id="14" creationId="{ADE24960-3DC1-4F40-8705-D09E167A0C53}"/>
          </ac:spMkLst>
        </pc:spChg>
        <pc:grpChg chg="replST">
          <ac:chgData name="Valentin GIANNINI" userId="282844b5-3252-425c-a805-4aeabb26e807" providerId="ADAL" clId="{ECFDD3D5-B7C7-4CC5-B35A-23D99CB1ED1B}" dt="2021-10-04T14:03:53.089" v="4181"/>
          <ac:grpSpMkLst>
            <pc:docMk/>
            <pc:sldMk cId="2889930414" sldId="467"/>
            <ac:grpSpMk id="5" creationId="{F3C15CFF-821F-4BED-9755-BD9139A05F62}"/>
          </ac:grpSpMkLst>
        </pc:grpChg>
        <pc:graphicFrameChg chg="mod replST modGraphic">
          <ac:chgData name="Valentin GIANNINI" userId="282844b5-3252-425c-a805-4aeabb26e807" providerId="ADAL" clId="{ECFDD3D5-B7C7-4CC5-B35A-23D99CB1ED1B}" dt="2021-10-04T14:03:53.070" v="4179"/>
          <ac:graphicFrameMkLst>
            <pc:docMk/>
            <pc:sldMk cId="2889930414" sldId="467"/>
            <ac:graphicFrameMk id="2" creationId="{6A0EECAD-3F4D-4D4D-85CD-0E1ABE4D71F3}"/>
          </ac:graphicFrameMkLst>
        </pc:graphicFrameChg>
      </pc:sldChg>
      <pc:sldChg chg="ord">
        <pc:chgData name="Valentin GIANNINI" userId="282844b5-3252-425c-a805-4aeabb26e807" providerId="ADAL" clId="{ECFDD3D5-B7C7-4CC5-B35A-23D99CB1ED1B}" dt="2021-10-01T12:32:41.758" v="1624"/>
        <pc:sldMkLst>
          <pc:docMk/>
          <pc:sldMk cId="2471283942" sldId="468"/>
        </pc:sldMkLst>
      </pc:sldChg>
      <pc:sldChg chg="modSp mod">
        <pc:chgData name="Valentin GIANNINI" userId="282844b5-3252-425c-a805-4aeabb26e807" providerId="ADAL" clId="{ECFDD3D5-B7C7-4CC5-B35A-23D99CB1ED1B}" dt="2021-10-04T14:03:54.063" v="4272"/>
        <pc:sldMkLst>
          <pc:docMk/>
          <pc:sldMk cId="1771016552" sldId="471"/>
        </pc:sldMkLst>
        <pc:spChg chg="replST">
          <ac:chgData name="Valentin GIANNINI" userId="282844b5-3252-425c-a805-4aeabb26e807" providerId="ADAL" clId="{ECFDD3D5-B7C7-4CC5-B35A-23D99CB1ED1B}" dt="2021-10-04T14:03:54.010" v="4267"/>
          <ac:spMkLst>
            <pc:docMk/>
            <pc:sldMk cId="1771016552" sldId="471"/>
            <ac:spMk id="7" creationId="{39DDE29E-84F9-41B1-A100-D22A8C73FF08}"/>
          </ac:spMkLst>
        </pc:spChg>
        <pc:spChg chg="replST">
          <ac:chgData name="Valentin GIANNINI" userId="282844b5-3252-425c-a805-4aeabb26e807" providerId="ADAL" clId="{ECFDD3D5-B7C7-4CC5-B35A-23D99CB1ED1B}" dt="2021-10-04T14:03:54.019" v="4268"/>
          <ac:spMkLst>
            <pc:docMk/>
            <pc:sldMk cId="1771016552" sldId="471"/>
            <ac:spMk id="8" creationId="{B0ED2DD0-FFF4-4900-9058-6B9BC692F09C}"/>
          </ac:spMkLst>
        </pc:spChg>
        <pc:spChg chg="replST">
          <ac:chgData name="Valentin GIANNINI" userId="282844b5-3252-425c-a805-4aeabb26e807" providerId="ADAL" clId="{ECFDD3D5-B7C7-4CC5-B35A-23D99CB1ED1B}" dt="2021-10-04T14:03:54.030" v="4269"/>
          <ac:spMkLst>
            <pc:docMk/>
            <pc:sldMk cId="1771016552" sldId="471"/>
            <ac:spMk id="10" creationId="{B415D678-5BF6-459A-A6B8-E90E5AB007DC}"/>
          </ac:spMkLst>
        </pc:spChg>
        <pc:spChg chg="replST">
          <ac:chgData name="Valentin GIANNINI" userId="282844b5-3252-425c-a805-4aeabb26e807" providerId="ADAL" clId="{ECFDD3D5-B7C7-4CC5-B35A-23D99CB1ED1B}" dt="2021-10-04T14:03:54.042" v="4270"/>
          <ac:spMkLst>
            <pc:docMk/>
            <pc:sldMk cId="1771016552" sldId="471"/>
            <ac:spMk id="11" creationId="{A31F2C4B-1B44-4AA8-A00E-8BCCCAA6A5E7}"/>
          </ac:spMkLst>
        </pc:spChg>
        <pc:spChg chg="replST">
          <ac:chgData name="Valentin GIANNINI" userId="282844b5-3252-425c-a805-4aeabb26e807" providerId="ADAL" clId="{ECFDD3D5-B7C7-4CC5-B35A-23D99CB1ED1B}" dt="2021-10-04T14:03:54.052" v="4271"/>
          <ac:spMkLst>
            <pc:docMk/>
            <pc:sldMk cId="1771016552" sldId="471"/>
            <ac:spMk id="16" creationId="{DE1C7538-0CA9-42E4-A9F4-E85013256979}"/>
          </ac:spMkLst>
        </pc:spChg>
        <pc:grpChg chg="replST">
          <ac:chgData name="Valentin GIANNINI" userId="282844b5-3252-425c-a805-4aeabb26e807" providerId="ADAL" clId="{ECFDD3D5-B7C7-4CC5-B35A-23D99CB1ED1B}" dt="2021-10-04T14:03:54.063" v="4272"/>
          <ac:grpSpMkLst>
            <pc:docMk/>
            <pc:sldMk cId="1771016552" sldId="471"/>
            <ac:grpSpMk id="2" creationId="{B7454A70-DA2B-4C1F-993D-30799D66494D}"/>
          </ac:grpSpMkLst>
        </pc:grpChg>
        <pc:picChg chg="replST">
          <ac:chgData name="Valentin GIANNINI" userId="282844b5-3252-425c-a805-4aeabb26e807" providerId="ADAL" clId="{ECFDD3D5-B7C7-4CC5-B35A-23D99CB1ED1B}" dt="2021-10-04T14:03:54.003" v="4266"/>
          <ac:picMkLst>
            <pc:docMk/>
            <pc:sldMk cId="1771016552" sldId="471"/>
            <ac:picMk id="5" creationId="{81C551B4-B9F6-4BCE-8B69-D2962FCF6268}"/>
          </ac:picMkLst>
        </pc:picChg>
      </pc:sldChg>
      <pc:sldChg chg="modSp mod ord">
        <pc:chgData name="Valentin GIANNINI" userId="282844b5-3252-425c-a805-4aeabb26e807" providerId="ADAL" clId="{ECFDD3D5-B7C7-4CC5-B35A-23D99CB1ED1B}" dt="2021-10-04T14:03:53.130" v="4185"/>
        <pc:sldMkLst>
          <pc:docMk/>
          <pc:sldMk cId="1324698650" sldId="472"/>
        </pc:sldMkLst>
        <pc:spChg chg="replST">
          <ac:chgData name="Valentin GIANNINI" userId="282844b5-3252-425c-a805-4aeabb26e807" providerId="ADAL" clId="{ECFDD3D5-B7C7-4CC5-B35A-23D99CB1ED1B}" dt="2021-10-04T14:03:53.118" v="4184"/>
          <ac:spMkLst>
            <pc:docMk/>
            <pc:sldMk cId="1324698650" sldId="472"/>
            <ac:spMk id="5" creationId="{8B42332C-E03B-4F53-B7CE-BC37999C8DC8}"/>
          </ac:spMkLst>
        </pc:spChg>
        <pc:spChg chg="mod replST">
          <ac:chgData name="Valentin GIANNINI" userId="282844b5-3252-425c-a805-4aeabb26e807" providerId="ADAL" clId="{ECFDD3D5-B7C7-4CC5-B35A-23D99CB1ED1B}" dt="2021-10-04T14:03:53.099" v="4182"/>
          <ac:spMkLst>
            <pc:docMk/>
            <pc:sldMk cId="1324698650" sldId="472"/>
            <ac:spMk id="14" creationId="{ADE24960-3DC1-4F40-8705-D09E167A0C53}"/>
          </ac:spMkLst>
        </pc:spChg>
        <pc:grpChg chg="replST">
          <ac:chgData name="Valentin GIANNINI" userId="282844b5-3252-425c-a805-4aeabb26e807" providerId="ADAL" clId="{ECFDD3D5-B7C7-4CC5-B35A-23D99CB1ED1B}" dt="2021-10-04T14:03:53.130" v="4185"/>
          <ac:grpSpMkLst>
            <pc:docMk/>
            <pc:sldMk cId="1324698650" sldId="472"/>
            <ac:grpSpMk id="6" creationId="{AA67DC3A-E2F6-4AFE-9AE0-E6246013628F}"/>
          </ac:grpSpMkLst>
        </pc:grpChg>
        <pc:graphicFrameChg chg="replST modGraphic">
          <ac:chgData name="Valentin GIANNINI" userId="282844b5-3252-425c-a805-4aeabb26e807" providerId="ADAL" clId="{ECFDD3D5-B7C7-4CC5-B35A-23D99CB1ED1B}" dt="2021-10-04T14:03:53.109" v="4183"/>
          <ac:graphicFrameMkLst>
            <pc:docMk/>
            <pc:sldMk cId="1324698650" sldId="472"/>
            <ac:graphicFrameMk id="2" creationId="{6A0EECAD-3F4D-4D4D-85CD-0E1ABE4D71F3}"/>
          </ac:graphicFrameMkLst>
        </pc:graphicFrameChg>
      </pc:sldChg>
      <pc:sldChg chg="modSp mod">
        <pc:chgData name="Valentin GIANNINI" userId="282844b5-3252-425c-a805-4aeabb26e807" providerId="ADAL" clId="{ECFDD3D5-B7C7-4CC5-B35A-23D99CB1ED1B}" dt="2021-10-04T14:03:54.401" v="4303"/>
        <pc:sldMkLst>
          <pc:docMk/>
          <pc:sldMk cId="2088034320" sldId="473"/>
        </pc:sldMkLst>
        <pc:spChg chg="replST">
          <ac:chgData name="Valentin GIANNINI" userId="282844b5-3252-425c-a805-4aeabb26e807" providerId="ADAL" clId="{ECFDD3D5-B7C7-4CC5-B35A-23D99CB1ED1B}" dt="2021-10-04T14:03:54.401" v="4303"/>
          <ac:spMkLst>
            <pc:docMk/>
            <pc:sldMk cId="2088034320" sldId="473"/>
            <ac:spMk id="2" creationId="{2CEF1B7E-C78A-4E45-AF68-C88303977A3F}"/>
          </ac:spMkLst>
        </pc:spChg>
        <pc:spChg chg="replST">
          <ac:chgData name="Valentin GIANNINI" userId="282844b5-3252-425c-a805-4aeabb26e807" providerId="ADAL" clId="{ECFDD3D5-B7C7-4CC5-B35A-23D99CB1ED1B}" dt="2021-10-04T14:03:54.386" v="4302"/>
          <ac:spMkLst>
            <pc:docMk/>
            <pc:sldMk cId="2088034320" sldId="473"/>
            <ac:spMk id="14" creationId="{ADE24960-3DC1-4F40-8705-D09E167A0C53}"/>
          </ac:spMkLst>
        </pc:spChg>
      </pc:sldChg>
      <pc:sldChg chg="modSp mod">
        <pc:chgData name="Valentin GIANNINI" userId="282844b5-3252-425c-a805-4aeabb26e807" providerId="ADAL" clId="{ECFDD3D5-B7C7-4CC5-B35A-23D99CB1ED1B}" dt="2021-10-04T14:03:54.428" v="4305"/>
        <pc:sldMkLst>
          <pc:docMk/>
          <pc:sldMk cId="2796270212" sldId="474"/>
        </pc:sldMkLst>
        <pc:spChg chg="replST">
          <ac:chgData name="Valentin GIANNINI" userId="282844b5-3252-425c-a805-4aeabb26e807" providerId="ADAL" clId="{ECFDD3D5-B7C7-4CC5-B35A-23D99CB1ED1B}" dt="2021-10-04T14:03:54.416" v="4304"/>
          <ac:spMkLst>
            <pc:docMk/>
            <pc:sldMk cId="2796270212" sldId="474"/>
            <ac:spMk id="14" creationId="{ADE24960-3DC1-4F40-8705-D09E167A0C53}"/>
          </ac:spMkLst>
        </pc:spChg>
        <pc:spChg chg="replST">
          <ac:chgData name="Valentin GIANNINI" userId="282844b5-3252-425c-a805-4aeabb26e807" providerId="ADAL" clId="{ECFDD3D5-B7C7-4CC5-B35A-23D99CB1ED1B}" dt="2021-10-04T14:03:54.428" v="4305"/>
          <ac:spMkLst>
            <pc:docMk/>
            <pc:sldMk cId="2796270212" sldId="474"/>
            <ac:spMk id="15" creationId="{876AB4B5-129A-7F43-9340-1BAF49B9B459}"/>
          </ac:spMkLst>
        </pc:spChg>
      </pc:sldChg>
      <pc:sldChg chg="addSp delSp modSp mod ord delAnim">
        <pc:chgData name="Valentin GIANNINI" userId="282844b5-3252-425c-a805-4aeabb26e807" providerId="ADAL" clId="{ECFDD3D5-B7C7-4CC5-B35A-23D99CB1ED1B}" dt="2021-10-04T14:03:52.643" v="4143"/>
        <pc:sldMkLst>
          <pc:docMk/>
          <pc:sldMk cId="2598620155" sldId="475"/>
        </pc:sldMkLst>
        <pc:spChg chg="mod replST">
          <ac:chgData name="Valentin GIANNINI" userId="282844b5-3252-425c-a805-4aeabb26e807" providerId="ADAL" clId="{ECFDD3D5-B7C7-4CC5-B35A-23D99CB1ED1B}" dt="2021-10-04T14:03:52.597" v="4137"/>
          <ac:spMkLst>
            <pc:docMk/>
            <pc:sldMk cId="2598620155" sldId="475"/>
            <ac:spMk id="14" creationId="{ADE24960-3DC1-4F40-8705-D09E167A0C53}"/>
          </ac:spMkLst>
        </pc:spChg>
        <pc:spChg chg="mod replST">
          <ac:chgData name="Valentin GIANNINI" userId="282844b5-3252-425c-a805-4aeabb26e807" providerId="ADAL" clId="{ECFDD3D5-B7C7-4CC5-B35A-23D99CB1ED1B}" dt="2021-10-04T14:03:52.605" v="4138"/>
          <ac:spMkLst>
            <pc:docMk/>
            <pc:sldMk cId="2598620155" sldId="475"/>
            <ac:spMk id="15" creationId="{876AB4B5-129A-7F43-9340-1BAF49B9B459}"/>
          </ac:spMkLst>
        </pc:spChg>
        <pc:picChg chg="add del mod">
          <ac:chgData name="Valentin GIANNINI" userId="282844b5-3252-425c-a805-4aeabb26e807" providerId="ADAL" clId="{ECFDD3D5-B7C7-4CC5-B35A-23D99CB1ED1B}" dt="2021-10-01T12:38:46.206" v="1676" actId="478"/>
          <ac:picMkLst>
            <pc:docMk/>
            <pc:sldMk cId="2598620155" sldId="475"/>
            <ac:picMk id="3" creationId="{FBA55EC2-622B-44A8-860E-4E262BE500CF}"/>
          </ac:picMkLst>
        </pc:picChg>
        <pc:picChg chg="add del mod">
          <ac:chgData name="Valentin GIANNINI" userId="282844b5-3252-425c-a805-4aeabb26e807" providerId="ADAL" clId="{ECFDD3D5-B7C7-4CC5-B35A-23D99CB1ED1B}" dt="2021-10-01T12:38:45.866" v="1675" actId="478"/>
          <ac:picMkLst>
            <pc:docMk/>
            <pc:sldMk cId="2598620155" sldId="475"/>
            <ac:picMk id="5" creationId="{1BFCAF98-AF5D-4D9E-A111-A56A6A8E01E5}"/>
          </ac:picMkLst>
        </pc:picChg>
        <pc:picChg chg="replST">
          <ac:chgData name="Valentin GIANNINI" userId="282844b5-3252-425c-a805-4aeabb26e807" providerId="ADAL" clId="{ECFDD3D5-B7C7-4CC5-B35A-23D99CB1ED1B}" dt="2021-10-04T14:03:52.612" v="4139"/>
          <ac:picMkLst>
            <pc:docMk/>
            <pc:sldMk cId="2598620155" sldId="475"/>
            <ac:picMk id="5" creationId="{4E0CF58D-C026-4E77-AA82-3DCE2B38C2AF}"/>
          </ac:picMkLst>
        </pc:picChg>
        <pc:picChg chg="add del mod">
          <ac:chgData name="Valentin GIANNINI" userId="282844b5-3252-425c-a805-4aeabb26e807" providerId="ADAL" clId="{ECFDD3D5-B7C7-4CC5-B35A-23D99CB1ED1B}" dt="2021-10-01T12:38:45.200" v="1673" actId="478"/>
          <ac:picMkLst>
            <pc:docMk/>
            <pc:sldMk cId="2598620155" sldId="475"/>
            <ac:picMk id="7" creationId="{638EC782-FD2B-4059-9E75-6903AC958E51}"/>
          </ac:picMkLst>
        </pc:picChg>
        <pc:picChg chg="replST">
          <ac:chgData name="Valentin GIANNINI" userId="282844b5-3252-425c-a805-4aeabb26e807" providerId="ADAL" clId="{ECFDD3D5-B7C7-4CC5-B35A-23D99CB1ED1B}" dt="2021-10-04T14:03:52.628" v="4141"/>
          <ac:picMkLst>
            <pc:docMk/>
            <pc:sldMk cId="2598620155" sldId="475"/>
            <ac:picMk id="9" creationId="{03D9A24B-EDA6-441F-A875-54389798E5B6}"/>
          </ac:picMkLst>
        </pc:picChg>
        <pc:picChg chg="replST">
          <ac:chgData name="Valentin GIANNINI" userId="282844b5-3252-425c-a805-4aeabb26e807" providerId="ADAL" clId="{ECFDD3D5-B7C7-4CC5-B35A-23D99CB1ED1B}" dt="2021-10-04T14:03:52.635" v="4142"/>
          <ac:picMkLst>
            <pc:docMk/>
            <pc:sldMk cId="2598620155" sldId="475"/>
            <ac:picMk id="11" creationId="{5765D9B4-21A2-49EB-BF1F-8BC74861B8B7}"/>
          </ac:picMkLst>
        </pc:picChg>
        <pc:picChg chg="del mod">
          <ac:chgData name="Valentin GIANNINI" userId="282844b5-3252-425c-a805-4aeabb26e807" providerId="ADAL" clId="{ECFDD3D5-B7C7-4CC5-B35A-23D99CB1ED1B}" dt="2021-10-01T12:38:44.706" v="1672" actId="478"/>
          <ac:picMkLst>
            <pc:docMk/>
            <pc:sldMk cId="2598620155" sldId="475"/>
            <ac:picMk id="18" creationId="{E38C8A1C-4224-4AAD-849A-C350470AD31A}"/>
          </ac:picMkLst>
        </pc:picChg>
        <pc:picChg chg="del mod">
          <ac:chgData name="Valentin GIANNINI" userId="282844b5-3252-425c-a805-4aeabb26e807" providerId="ADAL" clId="{ECFDD3D5-B7C7-4CC5-B35A-23D99CB1ED1B}" dt="2021-10-01T12:38:45.549" v="1674" actId="478"/>
          <ac:picMkLst>
            <pc:docMk/>
            <pc:sldMk cId="2598620155" sldId="475"/>
            <ac:picMk id="19" creationId="{0CCF8334-F5AA-4599-AE90-F4FCB54C67E9}"/>
          </ac:picMkLst>
        </pc:picChg>
        <pc:picChg chg="del mod">
          <ac:chgData name="Valentin GIANNINI" userId="282844b5-3252-425c-a805-4aeabb26e807" providerId="ADAL" clId="{ECFDD3D5-B7C7-4CC5-B35A-23D99CB1ED1B}" dt="2021-10-01T12:38:47.347" v="1677" actId="478"/>
          <ac:picMkLst>
            <pc:docMk/>
            <pc:sldMk cId="2598620155" sldId="475"/>
            <ac:picMk id="20" creationId="{1C700B1C-0591-486E-86D6-6A166B3F0D0C}"/>
          </ac:picMkLst>
        </pc:picChg>
        <pc:picChg chg="replST">
          <ac:chgData name="Valentin GIANNINI" userId="282844b5-3252-425c-a805-4aeabb26e807" providerId="ADAL" clId="{ECFDD3D5-B7C7-4CC5-B35A-23D99CB1ED1B}" dt="2021-10-04T14:03:52.643" v="4143"/>
          <ac:picMkLst>
            <pc:docMk/>
            <pc:sldMk cId="2598620155" sldId="475"/>
            <ac:picMk id="1026" creationId="{3E02987A-FA40-4F3C-84D4-67B2D243C4A3}"/>
          </ac:picMkLst>
        </pc:picChg>
        <pc:picChg chg="replST">
          <ac:chgData name="Valentin GIANNINI" userId="282844b5-3252-425c-a805-4aeabb26e807" providerId="ADAL" clId="{ECFDD3D5-B7C7-4CC5-B35A-23D99CB1ED1B}" dt="2021-10-04T14:03:52.619" v="4140"/>
          <ac:picMkLst>
            <pc:docMk/>
            <pc:sldMk cId="2598620155" sldId="475"/>
            <ac:picMk id="1028" creationId="{633CDE16-0B82-4843-B045-A895D7120022}"/>
          </ac:picMkLst>
        </pc:picChg>
      </pc:sldChg>
      <pc:sldChg chg="addSp modSp mod ord modAnim modNotesTx">
        <pc:chgData name="Valentin GIANNINI" userId="282844b5-3252-425c-a805-4aeabb26e807" providerId="ADAL" clId="{ECFDD3D5-B7C7-4CC5-B35A-23D99CB1ED1B}" dt="2021-10-04T14:03:52.815" v="4158"/>
        <pc:sldMkLst>
          <pc:docMk/>
          <pc:sldMk cId="3017267742" sldId="476"/>
        </pc:sldMkLst>
        <pc:spChg chg="mod replST">
          <ac:chgData name="Valentin GIANNINI" userId="282844b5-3252-425c-a805-4aeabb26e807" providerId="ADAL" clId="{ECFDD3D5-B7C7-4CC5-B35A-23D99CB1ED1B}" dt="2021-10-04T14:03:52.711" v="4151"/>
          <ac:spMkLst>
            <pc:docMk/>
            <pc:sldMk cId="3017267742" sldId="476"/>
            <ac:spMk id="14" creationId="{ADE24960-3DC1-4F40-8705-D09E167A0C53}"/>
          </ac:spMkLst>
        </pc:spChg>
        <pc:spChg chg="mod replST">
          <ac:chgData name="Valentin GIANNINI" userId="282844b5-3252-425c-a805-4aeabb26e807" providerId="ADAL" clId="{ECFDD3D5-B7C7-4CC5-B35A-23D99CB1ED1B}" dt="2021-10-04T14:03:52.724" v="4152"/>
          <ac:spMkLst>
            <pc:docMk/>
            <pc:sldMk cId="3017267742" sldId="476"/>
            <ac:spMk id="15" creationId="{876AB4B5-129A-7F43-9340-1BAF49B9B459}"/>
          </ac:spMkLst>
        </pc:spChg>
        <pc:grpChg chg="mod replST">
          <ac:chgData name="Valentin GIANNINI" userId="282844b5-3252-425c-a805-4aeabb26e807" providerId="ADAL" clId="{ECFDD3D5-B7C7-4CC5-B35A-23D99CB1ED1B}" dt="2021-10-04T14:03:52.775" v="4154"/>
          <ac:grpSpMkLst>
            <pc:docMk/>
            <pc:sldMk cId="3017267742" sldId="476"/>
            <ac:grpSpMk id="19" creationId="{4388EE0C-DB56-4D22-B1D7-976D334D6603}"/>
          </ac:grpSpMkLst>
        </pc:grpChg>
        <pc:grpChg chg="mod replST">
          <ac:chgData name="Valentin GIANNINI" userId="282844b5-3252-425c-a805-4aeabb26e807" providerId="ADAL" clId="{ECFDD3D5-B7C7-4CC5-B35A-23D99CB1ED1B}" dt="2021-10-04T14:03:52.795" v="4156"/>
          <ac:grpSpMkLst>
            <pc:docMk/>
            <pc:sldMk cId="3017267742" sldId="476"/>
            <ac:grpSpMk id="23" creationId="{E5CA3640-2464-4E0A-AD9A-0B125805E177}"/>
          </ac:grpSpMkLst>
        </pc:grpChg>
        <pc:picChg chg="mod replST">
          <ac:chgData name="Valentin GIANNINI" userId="282844b5-3252-425c-a805-4aeabb26e807" providerId="ADAL" clId="{ECFDD3D5-B7C7-4CC5-B35A-23D99CB1ED1B}" dt="2021-10-04T14:03:52.785" v="4155"/>
          <ac:picMkLst>
            <pc:docMk/>
            <pc:sldMk cId="3017267742" sldId="476"/>
            <ac:picMk id="6" creationId="{EA0A59F9-8AA6-4CC4-B02E-A0B422956A0D}"/>
          </ac:picMkLst>
        </pc:picChg>
        <pc:picChg chg="add mod replST">
          <ac:chgData name="Valentin GIANNINI" userId="282844b5-3252-425c-a805-4aeabb26e807" providerId="ADAL" clId="{ECFDD3D5-B7C7-4CC5-B35A-23D99CB1ED1B}" dt="2021-10-04T14:03:52.805" v="4157"/>
          <ac:picMkLst>
            <pc:docMk/>
            <pc:sldMk cId="3017267742" sldId="476"/>
            <ac:picMk id="7" creationId="{CBF589C0-CA98-46FD-91EF-1238278F523B}"/>
          </ac:picMkLst>
        </pc:picChg>
        <pc:picChg chg="add mod replST">
          <ac:chgData name="Valentin GIANNINI" userId="282844b5-3252-425c-a805-4aeabb26e807" providerId="ADAL" clId="{ECFDD3D5-B7C7-4CC5-B35A-23D99CB1ED1B}" dt="2021-10-04T14:03:52.815" v="4158"/>
          <ac:picMkLst>
            <pc:docMk/>
            <pc:sldMk cId="3017267742" sldId="476"/>
            <ac:picMk id="10" creationId="{2B4D188F-E22E-461E-A424-A7553B1E949F}"/>
          </ac:picMkLst>
        </pc:picChg>
        <pc:picChg chg="mod replST">
          <ac:chgData name="Valentin GIANNINI" userId="282844b5-3252-425c-a805-4aeabb26e807" providerId="ADAL" clId="{ECFDD3D5-B7C7-4CC5-B35A-23D99CB1ED1B}" dt="2021-10-04T14:03:52.744" v="4153"/>
          <ac:picMkLst>
            <pc:docMk/>
            <pc:sldMk cId="3017267742" sldId="476"/>
            <ac:picMk id="18" creationId="{37C7E8E5-59AF-4DD6-80CE-256DD5DD470A}"/>
          </ac:picMkLst>
        </pc:picChg>
      </pc:sldChg>
      <pc:sldChg chg="modSp mod">
        <pc:chgData name="Valentin GIANNINI" userId="282844b5-3252-425c-a805-4aeabb26e807" providerId="ADAL" clId="{ECFDD3D5-B7C7-4CC5-B35A-23D99CB1ED1B}" dt="2021-10-04T14:03:53.991" v="4265"/>
        <pc:sldMkLst>
          <pc:docMk/>
          <pc:sldMk cId="253284112" sldId="478"/>
        </pc:sldMkLst>
        <pc:spChg chg="replST">
          <ac:chgData name="Valentin GIANNINI" userId="282844b5-3252-425c-a805-4aeabb26e807" providerId="ADAL" clId="{ECFDD3D5-B7C7-4CC5-B35A-23D99CB1ED1B}" dt="2021-10-04T14:03:53.979" v="4264"/>
          <ac:spMkLst>
            <pc:docMk/>
            <pc:sldMk cId="253284112" sldId="478"/>
            <ac:spMk id="2" creationId="{23258FC2-8438-4CBA-AD6E-45B30001F109}"/>
          </ac:spMkLst>
        </pc:spChg>
        <pc:picChg chg="replST">
          <ac:chgData name="Valentin GIANNINI" userId="282844b5-3252-425c-a805-4aeabb26e807" providerId="ADAL" clId="{ECFDD3D5-B7C7-4CC5-B35A-23D99CB1ED1B}" dt="2021-10-04T14:03:53.991" v="4265"/>
          <ac:picMkLst>
            <pc:docMk/>
            <pc:sldMk cId="253284112" sldId="478"/>
            <ac:picMk id="10" creationId="{0EDA1C90-9AD9-48F0-AFC6-75A4B41AFA33}"/>
          </ac:picMkLst>
        </pc:picChg>
      </pc:sldChg>
      <pc:sldChg chg="modSp mod ord modNotesTx">
        <pc:chgData name="Valentin GIANNINI" userId="282844b5-3252-425c-a805-4aeabb26e807" providerId="ADAL" clId="{ECFDD3D5-B7C7-4CC5-B35A-23D99CB1ED1B}" dt="2021-10-04T14:03:52.860" v="4163"/>
        <pc:sldMkLst>
          <pc:docMk/>
          <pc:sldMk cId="1585668421" sldId="479"/>
        </pc:sldMkLst>
        <pc:spChg chg="mod replST">
          <ac:chgData name="Valentin GIANNINI" userId="282844b5-3252-425c-a805-4aeabb26e807" providerId="ADAL" clId="{ECFDD3D5-B7C7-4CC5-B35A-23D99CB1ED1B}" dt="2021-10-04T14:03:52.828" v="4159"/>
          <ac:spMkLst>
            <pc:docMk/>
            <pc:sldMk cId="1585668421" sldId="479"/>
            <ac:spMk id="14" creationId="{ADE24960-3DC1-4F40-8705-D09E167A0C53}"/>
          </ac:spMkLst>
        </pc:spChg>
        <pc:spChg chg="mod replST">
          <ac:chgData name="Valentin GIANNINI" userId="282844b5-3252-425c-a805-4aeabb26e807" providerId="ADAL" clId="{ECFDD3D5-B7C7-4CC5-B35A-23D99CB1ED1B}" dt="2021-10-04T14:03:52.838" v="4160"/>
          <ac:spMkLst>
            <pc:docMk/>
            <pc:sldMk cId="1585668421" sldId="479"/>
            <ac:spMk id="15" creationId="{876AB4B5-129A-7F43-9340-1BAF49B9B459}"/>
          </ac:spMkLst>
        </pc:spChg>
        <pc:grpChg chg="replST">
          <ac:chgData name="Valentin GIANNINI" userId="282844b5-3252-425c-a805-4aeabb26e807" providerId="ADAL" clId="{ECFDD3D5-B7C7-4CC5-B35A-23D99CB1ED1B}" dt="2021-10-04T14:03:52.846" v="4161"/>
          <ac:grpSpMkLst>
            <pc:docMk/>
            <pc:sldMk cId="1585668421" sldId="479"/>
            <ac:grpSpMk id="2" creationId="{50010F97-A9CE-4192-8CE3-DAB1D6F1A95E}"/>
          </ac:grpSpMkLst>
        </pc:grpChg>
        <pc:grpChg chg="replST">
          <ac:chgData name="Valentin GIANNINI" userId="282844b5-3252-425c-a805-4aeabb26e807" providerId="ADAL" clId="{ECFDD3D5-B7C7-4CC5-B35A-23D99CB1ED1B}" dt="2021-10-04T14:03:52.860" v="4163"/>
          <ac:grpSpMkLst>
            <pc:docMk/>
            <pc:sldMk cId="1585668421" sldId="479"/>
            <ac:grpSpMk id="3" creationId="{50629D13-F737-49DC-8328-703D66CB4AA5}"/>
          </ac:grpSpMkLst>
        </pc:grpChg>
        <pc:grpChg chg="mod replST">
          <ac:chgData name="Valentin GIANNINI" userId="282844b5-3252-425c-a805-4aeabb26e807" providerId="ADAL" clId="{ECFDD3D5-B7C7-4CC5-B35A-23D99CB1ED1B}" dt="2021-10-04T14:03:52.853" v="4162"/>
          <ac:grpSpMkLst>
            <pc:docMk/>
            <pc:sldMk cId="1585668421" sldId="479"/>
            <ac:grpSpMk id="4" creationId="{FE85AACC-BFA7-459D-AC17-3CF963683473}"/>
          </ac:grpSpMkLst>
        </pc:grpChg>
        <pc:picChg chg="mod">
          <ac:chgData name="Valentin GIANNINI" userId="282844b5-3252-425c-a805-4aeabb26e807" providerId="ADAL" clId="{ECFDD3D5-B7C7-4CC5-B35A-23D99CB1ED1B}" dt="2021-10-04T08:24:31.704" v="3902" actId="1076"/>
          <ac:picMkLst>
            <pc:docMk/>
            <pc:sldMk cId="1585668421" sldId="479"/>
            <ac:picMk id="44" creationId="{F01C60C4-3CA1-4002-9B3F-D46C60BDEF1B}"/>
          </ac:picMkLst>
        </pc:picChg>
        <pc:picChg chg="mod">
          <ac:chgData name="Valentin GIANNINI" userId="282844b5-3252-425c-a805-4aeabb26e807" providerId="ADAL" clId="{ECFDD3D5-B7C7-4CC5-B35A-23D99CB1ED1B}" dt="2021-10-04T08:24:23.792" v="3898" actId="1035"/>
          <ac:picMkLst>
            <pc:docMk/>
            <pc:sldMk cId="1585668421" sldId="479"/>
            <ac:picMk id="54" creationId="{92CA162F-D80E-4FC4-B212-F17B64CBFD1A}"/>
          </ac:picMkLst>
        </pc:picChg>
      </pc:sldChg>
      <pc:sldChg chg="modSp mod">
        <pc:chgData name="Valentin GIANNINI" userId="282844b5-3252-425c-a805-4aeabb26e807" providerId="ADAL" clId="{ECFDD3D5-B7C7-4CC5-B35A-23D99CB1ED1B}" dt="2021-10-04T14:03:53.959" v="4263"/>
        <pc:sldMkLst>
          <pc:docMk/>
          <pc:sldMk cId="3534197887" sldId="480"/>
        </pc:sldMkLst>
        <pc:spChg chg="replST">
          <ac:chgData name="Valentin GIANNINI" userId="282844b5-3252-425c-a805-4aeabb26e807" providerId="ADAL" clId="{ECFDD3D5-B7C7-4CC5-B35A-23D99CB1ED1B}" dt="2021-10-04T14:03:53.942" v="4262"/>
          <ac:spMkLst>
            <pc:docMk/>
            <pc:sldMk cId="3534197887" sldId="480"/>
            <ac:spMk id="2" creationId="{23258FC2-8438-4CBA-AD6E-45B30001F109}"/>
          </ac:spMkLst>
        </pc:spChg>
        <pc:picChg chg="replST">
          <ac:chgData name="Valentin GIANNINI" userId="282844b5-3252-425c-a805-4aeabb26e807" providerId="ADAL" clId="{ECFDD3D5-B7C7-4CC5-B35A-23D99CB1ED1B}" dt="2021-10-04T14:03:53.959" v="4263"/>
          <ac:picMkLst>
            <pc:docMk/>
            <pc:sldMk cId="3534197887" sldId="480"/>
            <ac:picMk id="8" creationId="{2F792D82-EB44-4253-96ED-91D6E31DB0B8}"/>
          </ac:picMkLst>
        </pc:picChg>
      </pc:sldChg>
      <pc:sldChg chg="modSp add mod modAnim modNotesTx">
        <pc:chgData name="Valentin GIANNINI" userId="282844b5-3252-425c-a805-4aeabb26e807" providerId="ADAL" clId="{ECFDD3D5-B7C7-4CC5-B35A-23D99CB1ED1B}" dt="2021-10-04T14:03:52.697" v="4150"/>
        <pc:sldMkLst>
          <pc:docMk/>
          <pc:sldMk cId="19082615" sldId="481"/>
        </pc:sldMkLst>
        <pc:spChg chg="replST">
          <ac:chgData name="Valentin GIANNINI" userId="282844b5-3252-425c-a805-4aeabb26e807" providerId="ADAL" clId="{ECFDD3D5-B7C7-4CC5-B35A-23D99CB1ED1B}" dt="2021-10-04T14:03:52.651" v="4144"/>
          <ac:spMkLst>
            <pc:docMk/>
            <pc:sldMk cId="19082615" sldId="481"/>
            <ac:spMk id="14" creationId="{ADE24960-3DC1-4F40-8705-D09E167A0C53}"/>
          </ac:spMkLst>
        </pc:spChg>
        <pc:picChg chg="replST">
          <ac:chgData name="Valentin GIANNINI" userId="282844b5-3252-425c-a805-4aeabb26e807" providerId="ADAL" clId="{ECFDD3D5-B7C7-4CC5-B35A-23D99CB1ED1B}" dt="2021-10-04T14:03:52.680" v="4148"/>
          <ac:picMkLst>
            <pc:docMk/>
            <pc:sldMk cId="19082615" sldId="481"/>
            <ac:picMk id="3" creationId="{FBA55EC2-622B-44A8-860E-4E262BE500CF}"/>
          </ac:picMkLst>
        </pc:picChg>
        <pc:picChg chg="replST">
          <ac:chgData name="Valentin GIANNINI" userId="282844b5-3252-425c-a805-4aeabb26e807" providerId="ADAL" clId="{ECFDD3D5-B7C7-4CC5-B35A-23D99CB1ED1B}" dt="2021-10-04T14:03:52.687" v="4149"/>
          <ac:picMkLst>
            <pc:docMk/>
            <pc:sldMk cId="19082615" sldId="481"/>
            <ac:picMk id="5" creationId="{1BFCAF98-AF5D-4D9E-A111-A56A6A8E01E5}"/>
          </ac:picMkLst>
        </pc:picChg>
        <pc:picChg chg="replST">
          <ac:chgData name="Valentin GIANNINI" userId="282844b5-3252-425c-a805-4aeabb26e807" providerId="ADAL" clId="{ECFDD3D5-B7C7-4CC5-B35A-23D99CB1ED1B}" dt="2021-10-04T14:03:52.697" v="4150"/>
          <ac:picMkLst>
            <pc:docMk/>
            <pc:sldMk cId="19082615" sldId="481"/>
            <ac:picMk id="7" creationId="{638EC782-FD2B-4059-9E75-6903AC958E51}"/>
          </ac:picMkLst>
        </pc:picChg>
        <pc:picChg chg="replST">
          <ac:chgData name="Valentin GIANNINI" userId="282844b5-3252-425c-a805-4aeabb26e807" providerId="ADAL" clId="{ECFDD3D5-B7C7-4CC5-B35A-23D99CB1ED1B}" dt="2021-10-04T14:03:52.658" v="4145"/>
          <ac:picMkLst>
            <pc:docMk/>
            <pc:sldMk cId="19082615" sldId="481"/>
            <ac:picMk id="18" creationId="{E38C8A1C-4224-4AAD-849A-C350470AD31A}"/>
          </ac:picMkLst>
        </pc:picChg>
        <pc:picChg chg="replST">
          <ac:chgData name="Valentin GIANNINI" userId="282844b5-3252-425c-a805-4aeabb26e807" providerId="ADAL" clId="{ECFDD3D5-B7C7-4CC5-B35A-23D99CB1ED1B}" dt="2021-10-04T14:03:52.666" v="4146"/>
          <ac:picMkLst>
            <pc:docMk/>
            <pc:sldMk cId="19082615" sldId="481"/>
            <ac:picMk id="19" creationId="{0CCF8334-F5AA-4599-AE90-F4FCB54C67E9}"/>
          </ac:picMkLst>
        </pc:picChg>
        <pc:picChg chg="replST">
          <ac:chgData name="Valentin GIANNINI" userId="282844b5-3252-425c-a805-4aeabb26e807" providerId="ADAL" clId="{ECFDD3D5-B7C7-4CC5-B35A-23D99CB1ED1B}" dt="2021-10-04T14:03:52.673" v="4147"/>
          <ac:picMkLst>
            <pc:docMk/>
            <pc:sldMk cId="19082615" sldId="481"/>
            <ac:picMk id="20" creationId="{1C700B1C-0591-486E-86D6-6A166B3F0D0C}"/>
          </ac:picMkLst>
        </pc:picChg>
      </pc:sldChg>
      <pc:sldChg chg="modSp mod">
        <pc:chgData name="Valentin GIANNINI" userId="282844b5-3252-425c-a805-4aeabb26e807" providerId="ADAL" clId="{ECFDD3D5-B7C7-4CC5-B35A-23D99CB1ED1B}" dt="2021-10-04T14:03:53.317" v="4207"/>
        <pc:sldMkLst>
          <pc:docMk/>
          <pc:sldMk cId="2151171373" sldId="482"/>
        </pc:sldMkLst>
        <pc:spChg chg="replST">
          <ac:chgData name="Valentin GIANNINI" userId="282844b5-3252-425c-a805-4aeabb26e807" providerId="ADAL" clId="{ECFDD3D5-B7C7-4CC5-B35A-23D99CB1ED1B}" dt="2021-10-04T14:03:53.283" v="4203"/>
          <ac:spMkLst>
            <pc:docMk/>
            <pc:sldMk cId="2151171373" sldId="482"/>
            <ac:spMk id="3" creationId="{FFFC21E4-FEED-43F3-BACC-8B930360BAFE}"/>
          </ac:spMkLst>
        </pc:spChg>
        <pc:spChg chg="replST">
          <ac:chgData name="Valentin GIANNINI" userId="282844b5-3252-425c-a805-4aeabb26e807" providerId="ADAL" clId="{ECFDD3D5-B7C7-4CC5-B35A-23D99CB1ED1B}" dt="2021-10-04T14:03:53.258" v="4200"/>
          <ac:spMkLst>
            <pc:docMk/>
            <pc:sldMk cId="2151171373" sldId="482"/>
            <ac:spMk id="5" creationId="{658C159A-EE7B-4BB2-9BF7-6617C4856E45}"/>
          </ac:spMkLst>
        </pc:spChg>
        <pc:spChg chg="replST">
          <ac:chgData name="Valentin GIANNINI" userId="282844b5-3252-425c-a805-4aeabb26e807" providerId="ADAL" clId="{ECFDD3D5-B7C7-4CC5-B35A-23D99CB1ED1B}" dt="2021-10-04T14:03:53.275" v="4202"/>
          <ac:spMkLst>
            <pc:docMk/>
            <pc:sldMk cId="2151171373" sldId="482"/>
            <ac:spMk id="7" creationId="{2CF08FB8-317E-4C69-B878-75D6A435D8B8}"/>
          </ac:spMkLst>
        </pc:spChg>
        <pc:spChg chg="replST">
          <ac:chgData name="Valentin GIANNINI" userId="282844b5-3252-425c-a805-4aeabb26e807" providerId="ADAL" clId="{ECFDD3D5-B7C7-4CC5-B35A-23D99CB1ED1B}" dt="2021-10-04T14:03:53.291" v="4204"/>
          <ac:spMkLst>
            <pc:docMk/>
            <pc:sldMk cId="2151171373" sldId="482"/>
            <ac:spMk id="9" creationId="{846075AD-6CF4-4234-BBB7-4800A5B7CC2D}"/>
          </ac:spMkLst>
        </pc:spChg>
        <pc:spChg chg="replST">
          <ac:chgData name="Valentin GIANNINI" userId="282844b5-3252-425c-a805-4aeabb26e807" providerId="ADAL" clId="{ECFDD3D5-B7C7-4CC5-B35A-23D99CB1ED1B}" dt="2021-10-04T14:03:53.300" v="4205"/>
          <ac:spMkLst>
            <pc:docMk/>
            <pc:sldMk cId="2151171373" sldId="482"/>
            <ac:spMk id="10" creationId="{1DAE2A09-69F7-4FD1-A579-71610BD98F75}"/>
          </ac:spMkLst>
        </pc:spChg>
        <pc:spChg chg="replST">
          <ac:chgData name="Valentin GIANNINI" userId="282844b5-3252-425c-a805-4aeabb26e807" providerId="ADAL" clId="{ECFDD3D5-B7C7-4CC5-B35A-23D99CB1ED1B}" dt="2021-10-04T14:03:53.308" v="4206"/>
          <ac:spMkLst>
            <pc:docMk/>
            <pc:sldMk cId="2151171373" sldId="482"/>
            <ac:spMk id="11" creationId="{44C8D9EA-84BD-4991-B50D-61D9F663952D}"/>
          </ac:spMkLst>
        </pc:spChg>
        <pc:spChg chg="replST">
          <ac:chgData name="Valentin GIANNINI" userId="282844b5-3252-425c-a805-4aeabb26e807" providerId="ADAL" clId="{ECFDD3D5-B7C7-4CC5-B35A-23D99CB1ED1B}" dt="2021-10-04T14:03:53.317" v="4207"/>
          <ac:spMkLst>
            <pc:docMk/>
            <pc:sldMk cId="2151171373" sldId="482"/>
            <ac:spMk id="13" creationId="{E13316B6-FAC6-4AB5-AEBB-8A00CB433CCE}"/>
          </ac:spMkLst>
        </pc:spChg>
        <pc:picChg chg="replST">
          <ac:chgData name="Valentin GIANNINI" userId="282844b5-3252-425c-a805-4aeabb26e807" providerId="ADAL" clId="{ECFDD3D5-B7C7-4CC5-B35A-23D99CB1ED1B}" dt="2021-10-04T14:03:53.265" v="4201"/>
          <ac:picMkLst>
            <pc:docMk/>
            <pc:sldMk cId="2151171373" sldId="482"/>
            <ac:picMk id="6" creationId="{02BEEC16-0005-4918-AA3C-922FBC192760}"/>
          </ac:picMkLst>
        </pc:picChg>
      </pc:sldChg>
      <pc:sldChg chg="modSp mod addCm delCm modCm">
        <pc:chgData name="Valentin GIANNINI" userId="282844b5-3252-425c-a805-4aeabb26e807" providerId="ADAL" clId="{ECFDD3D5-B7C7-4CC5-B35A-23D99CB1ED1B}" dt="2021-10-04T14:03:53.408" v="4212"/>
        <pc:sldMkLst>
          <pc:docMk/>
          <pc:sldMk cId="4186316412" sldId="483"/>
        </pc:sldMkLst>
        <pc:spChg chg="replST">
          <ac:chgData name="Valentin GIANNINI" userId="282844b5-3252-425c-a805-4aeabb26e807" providerId="ADAL" clId="{ECFDD3D5-B7C7-4CC5-B35A-23D99CB1ED1B}" dt="2021-10-04T14:03:53.334" v="4208"/>
          <ac:spMkLst>
            <pc:docMk/>
            <pc:sldMk cId="4186316412" sldId="483"/>
            <ac:spMk id="12" creationId="{B8A604F6-D1F6-442F-8E82-59761BEE9B1B}"/>
          </ac:spMkLst>
        </pc:spChg>
        <pc:spChg chg="replST">
          <ac:chgData name="Valentin GIANNINI" userId="282844b5-3252-425c-a805-4aeabb26e807" providerId="ADAL" clId="{ECFDD3D5-B7C7-4CC5-B35A-23D99CB1ED1B}" dt="2021-10-04T14:03:53.393" v="4211"/>
          <ac:spMkLst>
            <pc:docMk/>
            <pc:sldMk cId="4186316412" sldId="483"/>
            <ac:spMk id="15" creationId="{BAD1E4A2-3D41-4B3F-869A-09EDD6598996}"/>
          </ac:spMkLst>
        </pc:spChg>
        <pc:picChg chg="mod replST">
          <ac:chgData name="Valentin GIANNINI" userId="282844b5-3252-425c-a805-4aeabb26e807" providerId="ADAL" clId="{ECFDD3D5-B7C7-4CC5-B35A-23D99CB1ED1B}" dt="2021-10-04T14:03:53.408" v="4212"/>
          <ac:picMkLst>
            <pc:docMk/>
            <pc:sldMk cId="4186316412" sldId="483"/>
            <ac:picMk id="3" creationId="{0EB6A34E-CC77-4D0E-86A5-23E85FF50ACD}"/>
          </ac:picMkLst>
        </pc:picChg>
        <pc:picChg chg="replST">
          <ac:chgData name="Valentin GIANNINI" userId="282844b5-3252-425c-a805-4aeabb26e807" providerId="ADAL" clId="{ECFDD3D5-B7C7-4CC5-B35A-23D99CB1ED1B}" dt="2021-10-04T14:03:53.350" v="4209"/>
          <ac:picMkLst>
            <pc:docMk/>
            <pc:sldMk cId="4186316412" sldId="483"/>
            <ac:picMk id="13" creationId="{54776DE7-2DAB-48CE-91DF-21713D508CFE}"/>
          </ac:picMkLst>
        </pc:picChg>
        <pc:picChg chg="mod replST">
          <ac:chgData name="Valentin GIANNINI" userId="282844b5-3252-425c-a805-4aeabb26e807" providerId="ADAL" clId="{ECFDD3D5-B7C7-4CC5-B35A-23D99CB1ED1B}" dt="2021-10-04T14:03:53.370" v="4210"/>
          <ac:picMkLst>
            <pc:docMk/>
            <pc:sldMk cId="4186316412" sldId="483"/>
            <ac:picMk id="14" creationId="{AD19025F-3E1C-41A8-967B-3BD1F9E97132}"/>
          </ac:picMkLst>
        </pc:picChg>
      </pc:sldChg>
      <pc:sldChg chg="modSp mod">
        <pc:chgData name="Valentin GIANNINI" userId="282844b5-3252-425c-a805-4aeabb26e807" providerId="ADAL" clId="{ECFDD3D5-B7C7-4CC5-B35A-23D99CB1ED1B}" dt="2021-10-04T14:03:53.471" v="4216"/>
        <pc:sldMkLst>
          <pc:docMk/>
          <pc:sldMk cId="4035647775" sldId="484"/>
        </pc:sldMkLst>
        <pc:spChg chg="replST">
          <ac:chgData name="Valentin GIANNINI" userId="282844b5-3252-425c-a805-4aeabb26e807" providerId="ADAL" clId="{ECFDD3D5-B7C7-4CC5-B35A-23D99CB1ED1B}" dt="2021-10-04T14:03:53.471" v="4216"/>
          <ac:spMkLst>
            <pc:docMk/>
            <pc:sldMk cId="4035647775" sldId="484"/>
            <ac:spMk id="10" creationId="{2634D217-B513-4A39-9774-DC46E9123B39}"/>
          </ac:spMkLst>
        </pc:spChg>
        <pc:spChg chg="replST">
          <ac:chgData name="Valentin GIANNINI" userId="282844b5-3252-425c-a805-4aeabb26e807" providerId="ADAL" clId="{ECFDD3D5-B7C7-4CC5-B35A-23D99CB1ED1B}" dt="2021-10-04T14:03:53.427" v="4213"/>
          <ac:spMkLst>
            <pc:docMk/>
            <pc:sldMk cId="4035647775" sldId="484"/>
            <ac:spMk id="12" creationId="{B8A604F6-D1F6-442F-8E82-59761BEE9B1B}"/>
          </ac:spMkLst>
        </pc:spChg>
        <pc:graphicFrameChg chg="replST">
          <ac:chgData name="Valentin GIANNINI" userId="282844b5-3252-425c-a805-4aeabb26e807" providerId="ADAL" clId="{ECFDD3D5-B7C7-4CC5-B35A-23D99CB1ED1B}" dt="2021-10-04T14:03:53.456" v="4215"/>
          <ac:graphicFrameMkLst>
            <pc:docMk/>
            <pc:sldMk cId="4035647775" sldId="484"/>
            <ac:graphicFrameMk id="9" creationId="{3317BDEE-D6A1-47B0-969E-5D8434E8F277}"/>
          </ac:graphicFrameMkLst>
        </pc:graphicFrameChg>
        <pc:picChg chg="replST">
          <ac:chgData name="Valentin GIANNINI" userId="282844b5-3252-425c-a805-4aeabb26e807" providerId="ADAL" clId="{ECFDD3D5-B7C7-4CC5-B35A-23D99CB1ED1B}" dt="2021-10-04T14:03:53.441" v="4214"/>
          <ac:picMkLst>
            <pc:docMk/>
            <pc:sldMk cId="4035647775" sldId="484"/>
            <ac:picMk id="7" creationId="{293BE0C4-B5B6-4CAF-A247-23E530D22EAE}"/>
          </ac:picMkLst>
        </pc:picChg>
      </pc:sldChg>
      <pc:sldChg chg="modSp mod">
        <pc:chgData name="Valentin GIANNINI" userId="282844b5-3252-425c-a805-4aeabb26e807" providerId="ADAL" clId="{ECFDD3D5-B7C7-4CC5-B35A-23D99CB1ED1B}" dt="2021-10-04T14:03:53.548" v="4225"/>
        <pc:sldMkLst>
          <pc:docMk/>
          <pc:sldMk cId="2842156029" sldId="485"/>
        </pc:sldMkLst>
        <pc:spChg chg="replST">
          <ac:chgData name="Valentin GIANNINI" userId="282844b5-3252-425c-a805-4aeabb26e807" providerId="ADAL" clId="{ECFDD3D5-B7C7-4CC5-B35A-23D99CB1ED1B}" dt="2021-10-04T14:03:53.485" v="4217"/>
          <ac:spMkLst>
            <pc:docMk/>
            <pc:sldMk cId="2842156029" sldId="485"/>
            <ac:spMk id="5" creationId="{C61B4995-4EFA-4848-8511-6E94B58DCA33}"/>
          </ac:spMkLst>
        </pc:spChg>
        <pc:spChg chg="replST">
          <ac:chgData name="Valentin GIANNINI" userId="282844b5-3252-425c-a805-4aeabb26e807" providerId="ADAL" clId="{ECFDD3D5-B7C7-4CC5-B35A-23D99CB1ED1B}" dt="2021-10-04T14:03:53.494" v="4218"/>
          <ac:spMkLst>
            <pc:docMk/>
            <pc:sldMk cId="2842156029" sldId="485"/>
            <ac:spMk id="6" creationId="{EDB783B3-E08F-484D-AC4A-B9E110E5F375}"/>
          </ac:spMkLst>
        </pc:spChg>
        <pc:spChg chg="replST">
          <ac:chgData name="Valentin GIANNINI" userId="282844b5-3252-425c-a805-4aeabb26e807" providerId="ADAL" clId="{ECFDD3D5-B7C7-4CC5-B35A-23D99CB1ED1B}" dt="2021-10-04T14:03:53.509" v="4220"/>
          <ac:spMkLst>
            <pc:docMk/>
            <pc:sldMk cId="2842156029" sldId="485"/>
            <ac:spMk id="10" creationId="{BC5DA6FE-0597-4902-B9E1-445FE42F1D8A}"/>
          </ac:spMkLst>
        </pc:spChg>
        <pc:spChg chg="replST">
          <ac:chgData name="Valentin GIANNINI" userId="282844b5-3252-425c-a805-4aeabb26e807" providerId="ADAL" clId="{ECFDD3D5-B7C7-4CC5-B35A-23D99CB1ED1B}" dt="2021-10-04T14:03:53.516" v="4221"/>
          <ac:spMkLst>
            <pc:docMk/>
            <pc:sldMk cId="2842156029" sldId="485"/>
            <ac:spMk id="11" creationId="{86201478-B48D-47AE-886E-A70F6DBEF4DB}"/>
          </ac:spMkLst>
        </pc:spChg>
        <pc:spChg chg="replST">
          <ac:chgData name="Valentin GIANNINI" userId="282844b5-3252-425c-a805-4aeabb26e807" providerId="ADAL" clId="{ECFDD3D5-B7C7-4CC5-B35A-23D99CB1ED1B}" dt="2021-10-04T14:03:53.525" v="4222"/>
          <ac:spMkLst>
            <pc:docMk/>
            <pc:sldMk cId="2842156029" sldId="485"/>
            <ac:spMk id="13" creationId="{DF0526B2-F6B5-41BC-9525-D4BDDCE7B418}"/>
          </ac:spMkLst>
        </pc:spChg>
        <pc:spChg chg="replST">
          <ac:chgData name="Valentin GIANNINI" userId="282844b5-3252-425c-a805-4aeabb26e807" providerId="ADAL" clId="{ECFDD3D5-B7C7-4CC5-B35A-23D99CB1ED1B}" dt="2021-10-04T14:03:53.532" v="4223"/>
          <ac:spMkLst>
            <pc:docMk/>
            <pc:sldMk cId="2842156029" sldId="485"/>
            <ac:spMk id="14" creationId="{D07898DA-39E2-4C50-9DFF-CDD8BD1B67AD}"/>
          </ac:spMkLst>
        </pc:spChg>
        <pc:spChg chg="replST">
          <ac:chgData name="Valentin GIANNINI" userId="282844b5-3252-425c-a805-4aeabb26e807" providerId="ADAL" clId="{ECFDD3D5-B7C7-4CC5-B35A-23D99CB1ED1B}" dt="2021-10-04T14:03:53.541" v="4224"/>
          <ac:spMkLst>
            <pc:docMk/>
            <pc:sldMk cId="2842156029" sldId="485"/>
            <ac:spMk id="15" creationId="{18F2D2E9-76DA-4249-94E9-4510BE80904B}"/>
          </ac:spMkLst>
        </pc:spChg>
        <pc:spChg chg="mod replST">
          <ac:chgData name="Valentin GIANNINI" userId="282844b5-3252-425c-a805-4aeabb26e807" providerId="ADAL" clId="{ECFDD3D5-B7C7-4CC5-B35A-23D99CB1ED1B}" dt="2021-10-04T14:03:53.548" v="4225"/>
          <ac:spMkLst>
            <pc:docMk/>
            <pc:sldMk cId="2842156029" sldId="485"/>
            <ac:spMk id="16" creationId="{EA74D4BD-A154-47F6-BF0C-622DE0645492}"/>
          </ac:spMkLst>
        </pc:spChg>
        <pc:picChg chg="replST">
          <ac:chgData name="Valentin GIANNINI" userId="282844b5-3252-425c-a805-4aeabb26e807" providerId="ADAL" clId="{ECFDD3D5-B7C7-4CC5-B35A-23D99CB1ED1B}" dt="2021-10-04T14:03:53.501" v="4219"/>
          <ac:picMkLst>
            <pc:docMk/>
            <pc:sldMk cId="2842156029" sldId="485"/>
            <ac:picMk id="8" creationId="{EC1D87E2-C519-47A7-8865-FA02DF22315F}"/>
          </ac:picMkLst>
        </pc:picChg>
      </pc:sldChg>
      <pc:sldChg chg="modSp mod">
        <pc:chgData name="Valentin GIANNINI" userId="282844b5-3252-425c-a805-4aeabb26e807" providerId="ADAL" clId="{ECFDD3D5-B7C7-4CC5-B35A-23D99CB1ED1B}" dt="2021-10-04T14:03:53.617" v="4231"/>
        <pc:sldMkLst>
          <pc:docMk/>
          <pc:sldMk cId="1794245620" sldId="486"/>
        </pc:sldMkLst>
        <pc:spChg chg="replST">
          <ac:chgData name="Valentin GIANNINI" userId="282844b5-3252-425c-a805-4aeabb26e807" providerId="ADAL" clId="{ECFDD3D5-B7C7-4CC5-B35A-23D99CB1ED1B}" dt="2021-10-04T14:03:53.559" v="4226"/>
          <ac:spMkLst>
            <pc:docMk/>
            <pc:sldMk cId="1794245620" sldId="486"/>
            <ac:spMk id="5" creationId="{C61B4995-4EFA-4848-8511-6E94B58DCA33}"/>
          </ac:spMkLst>
        </pc:spChg>
        <pc:spChg chg="replST">
          <ac:chgData name="Valentin GIANNINI" userId="282844b5-3252-425c-a805-4aeabb26e807" providerId="ADAL" clId="{ECFDD3D5-B7C7-4CC5-B35A-23D99CB1ED1B}" dt="2021-10-04T14:03:53.580" v="4228"/>
          <ac:spMkLst>
            <pc:docMk/>
            <pc:sldMk cId="1794245620" sldId="486"/>
            <ac:spMk id="12" creationId="{B24943CB-A122-4E5B-8BB8-103248D93AE9}"/>
          </ac:spMkLst>
        </pc:spChg>
        <pc:spChg chg="replST">
          <ac:chgData name="Valentin GIANNINI" userId="282844b5-3252-425c-a805-4aeabb26e807" providerId="ADAL" clId="{ECFDD3D5-B7C7-4CC5-B35A-23D99CB1ED1B}" dt="2021-10-04T14:03:53.605" v="4230"/>
          <ac:spMkLst>
            <pc:docMk/>
            <pc:sldMk cId="1794245620" sldId="486"/>
            <ac:spMk id="17" creationId="{2A93989B-9FF6-4757-A4D6-15BF4C7FA5B6}"/>
          </ac:spMkLst>
        </pc:spChg>
        <pc:picChg chg="replST">
          <ac:chgData name="Valentin GIANNINI" userId="282844b5-3252-425c-a805-4aeabb26e807" providerId="ADAL" clId="{ECFDD3D5-B7C7-4CC5-B35A-23D99CB1ED1B}" dt="2021-10-04T14:03:53.617" v="4231"/>
          <ac:picMkLst>
            <pc:docMk/>
            <pc:sldMk cId="1794245620" sldId="486"/>
            <ac:picMk id="3" creationId="{F876099B-0408-4835-A142-19A6F4B22B60}"/>
          </ac:picMkLst>
        </pc:picChg>
        <pc:picChg chg="replST">
          <ac:chgData name="Valentin GIANNINI" userId="282844b5-3252-425c-a805-4aeabb26e807" providerId="ADAL" clId="{ECFDD3D5-B7C7-4CC5-B35A-23D99CB1ED1B}" dt="2021-10-04T14:03:53.569" v="4227"/>
          <ac:picMkLst>
            <pc:docMk/>
            <pc:sldMk cId="1794245620" sldId="486"/>
            <ac:picMk id="8" creationId="{EC1D87E2-C519-47A7-8865-FA02DF22315F}"/>
          </ac:picMkLst>
        </pc:picChg>
        <pc:picChg chg="replST">
          <ac:chgData name="Valentin GIANNINI" userId="282844b5-3252-425c-a805-4aeabb26e807" providerId="ADAL" clId="{ECFDD3D5-B7C7-4CC5-B35A-23D99CB1ED1B}" dt="2021-10-04T14:03:53.592" v="4229"/>
          <ac:picMkLst>
            <pc:docMk/>
            <pc:sldMk cId="1794245620" sldId="486"/>
            <ac:picMk id="16" creationId="{E623ED41-9192-4972-88DC-7367D527AB91}"/>
          </ac:picMkLst>
        </pc:picChg>
      </pc:sldChg>
      <pc:sldChg chg="modSp mod">
        <pc:chgData name="Valentin GIANNINI" userId="282844b5-3252-425c-a805-4aeabb26e807" providerId="ADAL" clId="{ECFDD3D5-B7C7-4CC5-B35A-23D99CB1ED1B}" dt="2021-10-04T14:03:53.681" v="4236"/>
        <pc:sldMkLst>
          <pc:docMk/>
          <pc:sldMk cId="489198969" sldId="487"/>
        </pc:sldMkLst>
        <pc:spChg chg="replST">
          <ac:chgData name="Valentin GIANNINI" userId="282844b5-3252-425c-a805-4aeabb26e807" providerId="ADAL" clId="{ECFDD3D5-B7C7-4CC5-B35A-23D99CB1ED1B}" dt="2021-10-04T14:03:53.635" v="4232"/>
          <ac:spMkLst>
            <pc:docMk/>
            <pc:sldMk cId="489198969" sldId="487"/>
            <ac:spMk id="5" creationId="{C61B4995-4EFA-4848-8511-6E94B58DCA33}"/>
          </ac:spMkLst>
        </pc:spChg>
        <pc:spChg chg="replST">
          <ac:chgData name="Valentin GIANNINI" userId="282844b5-3252-425c-a805-4aeabb26e807" providerId="ADAL" clId="{ECFDD3D5-B7C7-4CC5-B35A-23D99CB1ED1B}" dt="2021-10-04T14:03:53.662" v="4234"/>
          <ac:spMkLst>
            <pc:docMk/>
            <pc:sldMk cId="489198969" sldId="487"/>
            <ac:spMk id="12" creationId="{B24943CB-A122-4E5B-8BB8-103248D93AE9}"/>
          </ac:spMkLst>
        </pc:spChg>
        <pc:spChg chg="replST">
          <ac:chgData name="Valentin GIANNINI" userId="282844b5-3252-425c-a805-4aeabb26e807" providerId="ADAL" clId="{ECFDD3D5-B7C7-4CC5-B35A-23D99CB1ED1B}" dt="2021-10-04T14:03:53.671" v="4235"/>
          <ac:spMkLst>
            <pc:docMk/>
            <pc:sldMk cId="489198969" sldId="487"/>
            <ac:spMk id="17" creationId="{2A93989B-9FF6-4757-A4D6-15BF4C7FA5B6}"/>
          </ac:spMkLst>
        </pc:spChg>
        <pc:graphicFrameChg chg="replST">
          <ac:chgData name="Valentin GIANNINI" userId="282844b5-3252-425c-a805-4aeabb26e807" providerId="ADAL" clId="{ECFDD3D5-B7C7-4CC5-B35A-23D99CB1ED1B}" dt="2021-10-04T14:03:53.681" v="4236"/>
          <ac:graphicFrameMkLst>
            <pc:docMk/>
            <pc:sldMk cId="489198969" sldId="487"/>
            <ac:graphicFrameMk id="6" creationId="{D228F73B-7F1B-47D1-80E8-49121E68919D}"/>
          </ac:graphicFrameMkLst>
        </pc:graphicFrameChg>
        <pc:picChg chg="replST">
          <ac:chgData name="Valentin GIANNINI" userId="282844b5-3252-425c-a805-4aeabb26e807" providerId="ADAL" clId="{ECFDD3D5-B7C7-4CC5-B35A-23D99CB1ED1B}" dt="2021-10-04T14:03:53.650" v="4233"/>
          <ac:picMkLst>
            <pc:docMk/>
            <pc:sldMk cId="489198969" sldId="487"/>
            <ac:picMk id="8" creationId="{EC1D87E2-C519-47A7-8865-FA02DF22315F}"/>
          </ac:picMkLst>
        </pc:picChg>
      </pc:sldChg>
      <pc:sldChg chg="modSp mod">
        <pc:chgData name="Valentin GIANNINI" userId="282844b5-3252-425c-a805-4aeabb26e807" providerId="ADAL" clId="{ECFDD3D5-B7C7-4CC5-B35A-23D99CB1ED1B}" dt="2021-10-04T14:03:53.741" v="4242"/>
        <pc:sldMkLst>
          <pc:docMk/>
          <pc:sldMk cId="1785664793" sldId="488"/>
        </pc:sldMkLst>
        <pc:spChg chg="replST">
          <ac:chgData name="Valentin GIANNINI" userId="282844b5-3252-425c-a805-4aeabb26e807" providerId="ADAL" clId="{ECFDD3D5-B7C7-4CC5-B35A-23D99CB1ED1B}" dt="2021-10-04T14:03:53.694" v="4237"/>
          <ac:spMkLst>
            <pc:docMk/>
            <pc:sldMk cId="1785664793" sldId="488"/>
            <ac:spMk id="5" creationId="{C61B4995-4EFA-4848-8511-6E94B58DCA33}"/>
          </ac:spMkLst>
        </pc:spChg>
        <pc:spChg chg="replST">
          <ac:chgData name="Valentin GIANNINI" userId="282844b5-3252-425c-a805-4aeabb26e807" providerId="ADAL" clId="{ECFDD3D5-B7C7-4CC5-B35A-23D99CB1ED1B}" dt="2021-10-04T14:03:53.703" v="4238"/>
          <ac:spMkLst>
            <pc:docMk/>
            <pc:sldMk cId="1785664793" sldId="488"/>
            <ac:spMk id="7" creationId="{FC7034FD-E775-4166-B15A-338B85E092AC}"/>
          </ac:spMkLst>
        </pc:spChg>
        <pc:spChg chg="replST">
          <ac:chgData name="Valentin GIANNINI" userId="282844b5-3252-425c-a805-4aeabb26e807" providerId="ADAL" clId="{ECFDD3D5-B7C7-4CC5-B35A-23D99CB1ED1B}" dt="2021-10-04T14:03:53.731" v="4241"/>
          <ac:spMkLst>
            <pc:docMk/>
            <pc:sldMk cId="1785664793" sldId="488"/>
            <ac:spMk id="11" creationId="{713361C6-6489-4F16-BE68-D638443CDBC3}"/>
          </ac:spMkLst>
        </pc:spChg>
        <pc:picChg chg="replST">
          <ac:chgData name="Valentin GIANNINI" userId="282844b5-3252-425c-a805-4aeabb26e807" providerId="ADAL" clId="{ECFDD3D5-B7C7-4CC5-B35A-23D99CB1ED1B}" dt="2021-10-04T14:03:53.741" v="4242"/>
          <ac:picMkLst>
            <pc:docMk/>
            <pc:sldMk cId="1785664793" sldId="488"/>
            <ac:picMk id="3" creationId="{EA4676CD-53D9-4B33-81C6-6EED3CDD2BD1}"/>
          </ac:picMkLst>
        </pc:picChg>
        <pc:picChg chg="replST">
          <ac:chgData name="Valentin GIANNINI" userId="282844b5-3252-425c-a805-4aeabb26e807" providerId="ADAL" clId="{ECFDD3D5-B7C7-4CC5-B35A-23D99CB1ED1B}" dt="2021-10-04T14:03:53.713" v="4239"/>
          <ac:picMkLst>
            <pc:docMk/>
            <pc:sldMk cId="1785664793" sldId="488"/>
            <ac:picMk id="9" creationId="{1524B4F4-1CED-4247-9CA2-5F0188428737}"/>
          </ac:picMkLst>
        </pc:picChg>
        <pc:picChg chg="replST">
          <ac:chgData name="Valentin GIANNINI" userId="282844b5-3252-425c-a805-4aeabb26e807" providerId="ADAL" clId="{ECFDD3D5-B7C7-4CC5-B35A-23D99CB1ED1B}" dt="2021-10-04T14:03:53.722" v="4240"/>
          <ac:picMkLst>
            <pc:docMk/>
            <pc:sldMk cId="1785664793" sldId="488"/>
            <ac:picMk id="10" creationId="{7E61CE90-2F7F-4CDC-8E08-E2B8E55FF9FA}"/>
          </ac:picMkLst>
        </pc:picChg>
      </pc:sldChg>
      <pc:sldChg chg="modSp mod">
        <pc:chgData name="Valentin GIANNINI" userId="282844b5-3252-425c-a805-4aeabb26e807" providerId="ADAL" clId="{ECFDD3D5-B7C7-4CC5-B35A-23D99CB1ED1B}" dt="2021-10-04T14:03:53.788" v="4247"/>
        <pc:sldMkLst>
          <pc:docMk/>
          <pc:sldMk cId="4087387552" sldId="489"/>
        </pc:sldMkLst>
        <pc:spChg chg="replST">
          <ac:chgData name="Valentin GIANNINI" userId="282844b5-3252-425c-a805-4aeabb26e807" providerId="ADAL" clId="{ECFDD3D5-B7C7-4CC5-B35A-23D99CB1ED1B}" dt="2021-10-04T14:03:53.754" v="4243"/>
          <ac:spMkLst>
            <pc:docMk/>
            <pc:sldMk cId="4087387552" sldId="489"/>
            <ac:spMk id="5" creationId="{C61B4995-4EFA-4848-8511-6E94B58DCA33}"/>
          </ac:spMkLst>
        </pc:spChg>
        <pc:spChg chg="replST">
          <ac:chgData name="Valentin GIANNINI" userId="282844b5-3252-425c-a805-4aeabb26e807" providerId="ADAL" clId="{ECFDD3D5-B7C7-4CC5-B35A-23D99CB1ED1B}" dt="2021-10-04T14:03:53.788" v="4247"/>
          <ac:spMkLst>
            <pc:docMk/>
            <pc:sldMk cId="4087387552" sldId="489"/>
            <ac:spMk id="10" creationId="{A5612C24-9BBE-443B-878F-7D7955B2C531}"/>
          </ac:spMkLst>
        </pc:spChg>
        <pc:spChg chg="replST">
          <ac:chgData name="Valentin GIANNINI" userId="282844b5-3252-425c-a805-4aeabb26e807" providerId="ADAL" clId="{ECFDD3D5-B7C7-4CC5-B35A-23D99CB1ED1B}" dt="2021-10-04T14:03:53.763" v="4244"/>
          <ac:spMkLst>
            <pc:docMk/>
            <pc:sldMk cId="4087387552" sldId="489"/>
            <ac:spMk id="12" creationId="{B24943CB-A122-4E5B-8BB8-103248D93AE9}"/>
          </ac:spMkLst>
        </pc:spChg>
        <pc:graphicFrameChg chg="replST modGraphic">
          <ac:chgData name="Valentin GIANNINI" userId="282844b5-3252-425c-a805-4aeabb26e807" providerId="ADAL" clId="{ECFDD3D5-B7C7-4CC5-B35A-23D99CB1ED1B}" dt="2021-10-04T14:03:53.771" v="4245"/>
          <ac:graphicFrameMkLst>
            <pc:docMk/>
            <pc:sldMk cId="4087387552" sldId="489"/>
            <ac:graphicFrameMk id="6" creationId="{D228F73B-7F1B-47D1-80E8-49121E68919D}"/>
          </ac:graphicFrameMkLst>
        </pc:graphicFrameChg>
        <pc:picChg chg="replST">
          <ac:chgData name="Valentin GIANNINI" userId="282844b5-3252-425c-a805-4aeabb26e807" providerId="ADAL" clId="{ECFDD3D5-B7C7-4CC5-B35A-23D99CB1ED1B}" dt="2021-10-04T14:03:53.780" v="4246"/>
          <ac:picMkLst>
            <pc:docMk/>
            <pc:sldMk cId="4087387552" sldId="489"/>
            <ac:picMk id="9" creationId="{032F7B61-8C1F-4549-88FF-26DA015C39EA}"/>
          </ac:picMkLst>
        </pc:picChg>
      </pc:sldChg>
      <pc:sldChg chg="modSp mod">
        <pc:chgData name="Valentin GIANNINI" userId="282844b5-3252-425c-a805-4aeabb26e807" providerId="ADAL" clId="{ECFDD3D5-B7C7-4CC5-B35A-23D99CB1ED1B}" dt="2021-10-04T14:03:53.820" v="4251"/>
        <pc:sldMkLst>
          <pc:docMk/>
          <pc:sldMk cId="780685831" sldId="490"/>
        </pc:sldMkLst>
        <pc:spChg chg="replST">
          <ac:chgData name="Valentin GIANNINI" userId="282844b5-3252-425c-a805-4aeabb26e807" providerId="ADAL" clId="{ECFDD3D5-B7C7-4CC5-B35A-23D99CB1ED1B}" dt="2021-10-04T14:03:53.798" v="4248"/>
          <ac:spMkLst>
            <pc:docMk/>
            <pc:sldMk cId="780685831" sldId="490"/>
            <ac:spMk id="5" creationId="{C61B4995-4EFA-4848-8511-6E94B58DCA33}"/>
          </ac:spMkLst>
        </pc:spChg>
        <pc:spChg chg="replST">
          <ac:chgData name="Valentin GIANNINI" userId="282844b5-3252-425c-a805-4aeabb26e807" providerId="ADAL" clId="{ECFDD3D5-B7C7-4CC5-B35A-23D99CB1ED1B}" dt="2021-10-04T14:03:53.805" v="4249"/>
          <ac:spMkLst>
            <pc:docMk/>
            <pc:sldMk cId="780685831" sldId="490"/>
            <ac:spMk id="9" creationId="{02C544C8-C14B-481A-A936-F010CE86D849}"/>
          </ac:spMkLst>
        </pc:spChg>
        <pc:graphicFrameChg chg="replST">
          <ac:chgData name="Valentin GIANNINI" userId="282844b5-3252-425c-a805-4aeabb26e807" providerId="ADAL" clId="{ECFDD3D5-B7C7-4CC5-B35A-23D99CB1ED1B}" dt="2021-10-04T14:03:53.820" v="4251"/>
          <ac:graphicFrameMkLst>
            <pc:docMk/>
            <pc:sldMk cId="780685831" sldId="490"/>
            <ac:graphicFrameMk id="11" creationId="{B52696A9-2325-4130-98C5-4AF136A50449}"/>
          </ac:graphicFrameMkLst>
        </pc:graphicFrameChg>
        <pc:picChg chg="replST">
          <ac:chgData name="Valentin GIANNINI" userId="282844b5-3252-425c-a805-4aeabb26e807" providerId="ADAL" clId="{ECFDD3D5-B7C7-4CC5-B35A-23D99CB1ED1B}" dt="2021-10-04T14:03:53.812" v="4250"/>
          <ac:picMkLst>
            <pc:docMk/>
            <pc:sldMk cId="780685831" sldId="490"/>
            <ac:picMk id="10" creationId="{8F464297-4834-4F69-99A2-75F86171EE8B}"/>
          </ac:picMkLst>
        </pc:picChg>
      </pc:sldChg>
    </pc:docChg>
  </pc:docChgLst>
  <pc:docChgLst>
    <pc:chgData name="Elliot RASCH" userId="S::erasch@excellium-services.lu::2f4a8af0-b35f-4610-9bc2-bfab6d4d3e11" providerId="AD" clId="Web-{396A6342-43C3-53FC-B855-4F8023CDFF55}"/>
    <pc:docChg chg="modSld">
      <pc:chgData name="Elliot RASCH" userId="S::erasch@excellium-services.lu::2f4a8af0-b35f-4610-9bc2-bfab6d4d3e11" providerId="AD" clId="Web-{396A6342-43C3-53FC-B855-4F8023CDFF55}" dt="2021-09-23T15:37:24.290" v="2" actId="20577"/>
      <pc:docMkLst>
        <pc:docMk/>
      </pc:docMkLst>
      <pc:sldChg chg="modSp">
        <pc:chgData name="Elliot RASCH" userId="S::erasch@excellium-services.lu::2f4a8af0-b35f-4610-9bc2-bfab6d4d3e11" providerId="AD" clId="Web-{396A6342-43C3-53FC-B855-4F8023CDFF55}" dt="2021-09-23T15:37:24.290" v="2" actId="20577"/>
        <pc:sldMkLst>
          <pc:docMk/>
          <pc:sldMk cId="442029095" sldId="447"/>
        </pc:sldMkLst>
        <pc:spChg chg="mod">
          <ac:chgData name="Elliot RASCH" userId="S::erasch@excellium-services.lu::2f4a8af0-b35f-4610-9bc2-bfab6d4d3e11" providerId="AD" clId="Web-{396A6342-43C3-53FC-B855-4F8023CDFF55}" dt="2021-09-23T15:37:24.290" v="2" actId="20577"/>
          <ac:spMkLst>
            <pc:docMk/>
            <pc:sldMk cId="442029095" sldId="447"/>
            <ac:spMk id="114" creationId="{00000000-0000-0000-0000-000000000000}"/>
          </ac:spMkLst>
        </pc:spChg>
      </pc:sldChg>
      <pc:sldChg chg="addCm">
        <pc:chgData name="Elliot RASCH" userId="S::erasch@excellium-services.lu::2f4a8af0-b35f-4610-9bc2-bfab6d4d3e11" providerId="AD" clId="Web-{396A6342-43C3-53FC-B855-4F8023CDFF55}" dt="2021-09-23T15:37:06.133" v="0"/>
        <pc:sldMkLst>
          <pc:docMk/>
          <pc:sldMk cId="193301995" sldId="450"/>
        </pc:sldMkLst>
      </pc:sldChg>
    </pc:docChg>
  </pc:docChgLst>
  <pc:docChgLst>
    <pc:chgData name="Valentin GIANNINI" userId="S::vgiannini@excellium-services.lu::282844b5-3252-425c-a805-4aeabb26e807" providerId="AD" clId="Web-{F8BF9F1E-5F06-43B0-B02E-B1B6C8CD707C}"/>
    <pc:docChg chg="modSld">
      <pc:chgData name="Valentin GIANNINI" userId="S::vgiannini@excellium-services.lu::282844b5-3252-425c-a805-4aeabb26e807" providerId="AD" clId="Web-{F8BF9F1E-5F06-43B0-B02E-B1B6C8CD707C}" dt="2021-09-24T12:21:42.707" v="0"/>
      <pc:docMkLst>
        <pc:docMk/>
      </pc:docMkLst>
      <pc:sldChg chg="modSp">
        <pc:chgData name="Valentin GIANNINI" userId="S::vgiannini@excellium-services.lu::282844b5-3252-425c-a805-4aeabb26e807" providerId="AD" clId="Web-{F8BF9F1E-5F06-43B0-B02E-B1B6C8CD707C}" dt="2021-09-24T12:21:42.707" v="0"/>
        <pc:sldMkLst>
          <pc:docMk/>
          <pc:sldMk cId="1906424831" sldId="459"/>
        </pc:sldMkLst>
        <pc:picChg chg="ord">
          <ac:chgData name="Valentin GIANNINI" userId="S::vgiannini@excellium-services.lu::282844b5-3252-425c-a805-4aeabb26e807" providerId="AD" clId="Web-{F8BF9F1E-5F06-43B0-B02E-B1B6C8CD707C}" dt="2021-09-24T12:21:42.707" v="0"/>
          <ac:picMkLst>
            <pc:docMk/>
            <pc:sldMk cId="1906424831" sldId="459"/>
            <ac:picMk id="10" creationId="{013EEE5D-B5B2-418E-A72A-8B73E1E06756}"/>
          </ac:picMkLst>
        </pc:picChg>
      </pc:sldChg>
    </pc:docChg>
  </pc:docChgLst>
  <pc:docChgLst>
    <pc:chgData name="Valentin GIANNINI" userId="282844b5-3252-425c-a805-4aeabb26e807" providerId="ADAL" clId="{6F65D988-6654-4D8F-8947-7EFB8B39E7D8}"/>
    <pc:docChg chg="undo custSel modSld">
      <pc:chgData name="Valentin GIANNINI" userId="282844b5-3252-425c-a805-4aeabb26e807" providerId="ADAL" clId="{6F65D988-6654-4D8F-8947-7EFB8B39E7D8}" dt="2021-10-04T14:52:14.874" v="628"/>
      <pc:docMkLst>
        <pc:docMk/>
      </pc:docMkLst>
      <pc:sldChg chg="modSp mod">
        <pc:chgData name="Valentin GIANNINI" userId="282844b5-3252-425c-a805-4aeabb26e807" providerId="ADAL" clId="{6F65D988-6654-4D8F-8947-7EFB8B39E7D8}" dt="2021-10-04T14:50:59.225" v="453"/>
        <pc:sldMkLst>
          <pc:docMk/>
          <pc:sldMk cId="24272977" sldId="274"/>
        </pc:sldMkLst>
        <pc:spChg chg="replST">
          <ac:chgData name="Valentin GIANNINI" userId="282844b5-3252-425c-a805-4aeabb26e807" providerId="ADAL" clId="{6F65D988-6654-4D8F-8947-7EFB8B39E7D8}" dt="2021-10-04T14:50:59.211" v="451"/>
          <ac:spMkLst>
            <pc:docMk/>
            <pc:sldMk cId="24272977" sldId="274"/>
            <ac:spMk id="6" creationId="{7EE9450C-08B7-6F48-B23C-288980BBF6FF}"/>
          </ac:spMkLst>
        </pc:spChg>
        <pc:spChg chg="replST">
          <ac:chgData name="Valentin GIANNINI" userId="282844b5-3252-425c-a805-4aeabb26e807" providerId="ADAL" clId="{6F65D988-6654-4D8F-8947-7EFB8B39E7D8}" dt="2021-10-04T14:50:59.218" v="452"/>
          <ac:spMkLst>
            <pc:docMk/>
            <pc:sldMk cId="24272977" sldId="274"/>
            <ac:spMk id="10" creationId="{A483D0A4-E390-6C43-8705-F106C597883B}"/>
          </ac:spMkLst>
        </pc:spChg>
        <pc:spChg chg="replST">
          <ac:chgData name="Valentin GIANNINI" userId="282844b5-3252-425c-a805-4aeabb26e807" providerId="ADAL" clId="{6F65D988-6654-4D8F-8947-7EFB8B39E7D8}" dt="2021-10-04T14:50:59.225" v="453"/>
          <ac:spMkLst>
            <pc:docMk/>
            <pc:sldMk cId="24272977" sldId="274"/>
            <ac:spMk id="11" creationId="{3664D79C-4FE9-44C5-BEF5-8C9F6A93DCB9}"/>
          </ac:spMkLst>
        </pc:spChg>
        <pc:spChg chg="replST">
          <ac:chgData name="Valentin GIANNINI" userId="282844b5-3252-425c-a805-4aeabb26e807" providerId="ADAL" clId="{6F65D988-6654-4D8F-8947-7EFB8B39E7D8}" dt="2021-10-04T14:50:59.202" v="450"/>
          <ac:spMkLst>
            <pc:docMk/>
            <pc:sldMk cId="24272977" sldId="274"/>
            <ac:spMk id="96" creationId="{00000000-0000-0000-0000-000000000000}"/>
          </ac:spMkLst>
        </pc:spChg>
      </pc:sldChg>
      <pc:sldChg chg="modSp mod">
        <pc:chgData name="Valentin GIANNINI" userId="282844b5-3252-425c-a805-4aeabb26e807" providerId="ADAL" clId="{6F65D988-6654-4D8F-8947-7EFB8B39E7D8}" dt="2021-10-04T14:50:59.190" v="449"/>
        <pc:sldMkLst>
          <pc:docMk/>
          <pc:sldMk cId="499463606" sldId="407"/>
        </pc:sldMkLst>
        <pc:spChg chg="replST">
          <ac:chgData name="Valentin GIANNINI" userId="282844b5-3252-425c-a805-4aeabb26e807" providerId="ADAL" clId="{6F65D988-6654-4D8F-8947-7EFB8B39E7D8}" dt="2021-10-04T14:50:59.155" v="445"/>
          <ac:spMkLst>
            <pc:docMk/>
            <pc:sldMk cId="499463606" sldId="407"/>
            <ac:spMk id="14" creationId="{ADE24960-3DC1-4F40-8705-D09E167A0C53}"/>
          </ac:spMkLst>
        </pc:spChg>
        <pc:spChg chg="replST">
          <ac:chgData name="Valentin GIANNINI" userId="282844b5-3252-425c-a805-4aeabb26e807" providerId="ADAL" clId="{6F65D988-6654-4D8F-8947-7EFB8B39E7D8}" dt="2021-10-04T14:50:59.164" v="446"/>
          <ac:spMkLst>
            <pc:docMk/>
            <pc:sldMk cId="499463606" sldId="407"/>
            <ac:spMk id="15" creationId="{876AB4B5-129A-7F43-9340-1BAF49B9B459}"/>
          </ac:spMkLst>
        </pc:spChg>
        <pc:graphicFrameChg chg="replST">
          <ac:chgData name="Valentin GIANNINI" userId="282844b5-3252-425c-a805-4aeabb26e807" providerId="ADAL" clId="{6F65D988-6654-4D8F-8947-7EFB8B39E7D8}" dt="2021-10-04T14:50:59.190" v="449"/>
          <ac:graphicFrameMkLst>
            <pc:docMk/>
            <pc:sldMk cId="499463606" sldId="407"/>
            <ac:graphicFrameMk id="10" creationId="{0ED20E39-2269-41A1-9B03-654E50B333C8}"/>
          </ac:graphicFrameMkLst>
        </pc:graphicFrameChg>
        <pc:graphicFrameChg chg="replST">
          <ac:chgData name="Valentin GIANNINI" userId="282844b5-3252-425c-a805-4aeabb26e807" providerId="ADAL" clId="{6F65D988-6654-4D8F-8947-7EFB8B39E7D8}" dt="2021-10-04T14:50:59.182" v="448"/>
          <ac:graphicFrameMkLst>
            <pc:docMk/>
            <pc:sldMk cId="499463606" sldId="407"/>
            <ac:graphicFrameMk id="11" creationId="{7B51C2DC-17B7-49A8-BBF4-FEF58EE3F3BA}"/>
          </ac:graphicFrameMkLst>
        </pc:graphicFrameChg>
        <pc:graphicFrameChg chg="replST">
          <ac:chgData name="Valentin GIANNINI" userId="282844b5-3252-425c-a805-4aeabb26e807" providerId="ADAL" clId="{6F65D988-6654-4D8F-8947-7EFB8B39E7D8}" dt="2021-10-04T14:50:59.174" v="447"/>
          <ac:graphicFrameMkLst>
            <pc:docMk/>
            <pc:sldMk cId="499463606" sldId="407"/>
            <ac:graphicFrameMk id="12" creationId="{B644A16D-60CF-4E81-B7BD-631789A7463C}"/>
          </ac:graphicFrameMkLst>
        </pc:graphicFrameChg>
      </pc:sldChg>
      <pc:sldChg chg="modSp mod">
        <pc:chgData name="Valentin GIANNINI" userId="282844b5-3252-425c-a805-4aeabb26e807" providerId="ADAL" clId="{6F65D988-6654-4D8F-8947-7EFB8B39E7D8}" dt="2021-10-04T14:50:59.124" v="444"/>
        <pc:sldMkLst>
          <pc:docMk/>
          <pc:sldMk cId="3316875469" sldId="434"/>
        </pc:sldMkLst>
        <pc:spChg chg="replST">
          <ac:chgData name="Valentin GIANNINI" userId="282844b5-3252-425c-a805-4aeabb26e807" providerId="ADAL" clId="{6F65D988-6654-4D8F-8947-7EFB8B39E7D8}" dt="2021-10-04T14:50:59.124" v="444"/>
          <ac:spMkLst>
            <pc:docMk/>
            <pc:sldMk cId="3316875469" sldId="434"/>
            <ac:spMk id="5" creationId="{0EB83274-0C7B-1A4B-AA35-1F1E649DB019}"/>
          </ac:spMkLst>
        </pc:spChg>
      </pc:sldChg>
      <pc:sldChg chg="modSp mod">
        <pc:chgData name="Valentin GIANNINI" userId="282844b5-3252-425c-a805-4aeabb26e807" providerId="ADAL" clId="{6F65D988-6654-4D8F-8947-7EFB8B39E7D8}" dt="2021-10-04T14:50:59.728" v="516"/>
        <pc:sldMkLst>
          <pc:docMk/>
          <pc:sldMk cId="2026788672" sldId="439"/>
        </pc:sldMkLst>
        <pc:spChg chg="replST">
          <ac:chgData name="Valentin GIANNINI" userId="282844b5-3252-425c-a805-4aeabb26e807" providerId="ADAL" clId="{6F65D988-6654-4D8F-8947-7EFB8B39E7D8}" dt="2021-10-04T14:50:59.722" v="515"/>
          <ac:spMkLst>
            <pc:docMk/>
            <pc:sldMk cId="2026788672" sldId="439"/>
            <ac:spMk id="6" creationId="{5E20247E-8AE2-9546-88DF-24BBEFC7E0A2}"/>
          </ac:spMkLst>
        </pc:spChg>
        <pc:spChg chg="replST">
          <ac:chgData name="Valentin GIANNINI" userId="282844b5-3252-425c-a805-4aeabb26e807" providerId="ADAL" clId="{6F65D988-6654-4D8F-8947-7EFB8B39E7D8}" dt="2021-10-04T14:50:59.715" v="514"/>
          <ac:spMkLst>
            <pc:docMk/>
            <pc:sldMk cId="2026788672" sldId="439"/>
            <ac:spMk id="114" creationId="{00000000-0000-0000-0000-000000000000}"/>
          </ac:spMkLst>
        </pc:spChg>
        <pc:picChg chg="replST">
          <ac:chgData name="Valentin GIANNINI" userId="282844b5-3252-425c-a805-4aeabb26e807" providerId="ADAL" clId="{6F65D988-6654-4D8F-8947-7EFB8B39E7D8}" dt="2021-10-04T14:50:59.728" v="516"/>
          <ac:picMkLst>
            <pc:docMk/>
            <pc:sldMk cId="2026788672" sldId="439"/>
            <ac:picMk id="3" creationId="{3D77C924-8ACB-4330-8CDC-607FDAA26365}"/>
          </ac:picMkLst>
        </pc:picChg>
      </pc:sldChg>
      <pc:sldChg chg="modSp mod">
        <pc:chgData name="Valentin GIANNINI" userId="282844b5-3252-425c-a805-4aeabb26e807" providerId="ADAL" clId="{6F65D988-6654-4D8F-8947-7EFB8B39E7D8}" dt="2021-10-04T14:51:00.357" v="591"/>
        <pc:sldMkLst>
          <pc:docMk/>
          <pc:sldMk cId="974436537" sldId="440"/>
        </pc:sldMkLst>
        <pc:spChg chg="replST">
          <ac:chgData name="Valentin GIANNINI" userId="282844b5-3252-425c-a805-4aeabb26e807" providerId="ADAL" clId="{6F65D988-6654-4D8F-8947-7EFB8B39E7D8}" dt="2021-10-04T14:51:00.357" v="591"/>
          <ac:spMkLst>
            <pc:docMk/>
            <pc:sldMk cId="974436537" sldId="440"/>
            <ac:spMk id="6" creationId="{5E20247E-8AE2-9546-88DF-24BBEFC7E0A2}"/>
          </ac:spMkLst>
        </pc:spChg>
        <pc:spChg chg="replST">
          <ac:chgData name="Valentin GIANNINI" userId="282844b5-3252-425c-a805-4aeabb26e807" providerId="ADAL" clId="{6F65D988-6654-4D8F-8947-7EFB8B39E7D8}" dt="2021-10-04T14:51:00.350" v="590"/>
          <ac:spMkLst>
            <pc:docMk/>
            <pc:sldMk cId="974436537" sldId="440"/>
            <ac:spMk id="114" creationId="{00000000-0000-0000-0000-000000000000}"/>
          </ac:spMkLst>
        </pc:spChg>
      </pc:sldChg>
      <pc:sldChg chg="modSp mod">
        <pc:chgData name="Valentin GIANNINI" userId="282844b5-3252-425c-a805-4aeabb26e807" providerId="ADAL" clId="{6F65D988-6654-4D8F-8947-7EFB8B39E7D8}" dt="2021-10-04T14:51:21.326" v="623"/>
        <pc:sldMkLst>
          <pc:docMk/>
          <pc:sldMk cId="3500073032" sldId="452"/>
        </pc:sldMkLst>
        <pc:spChg chg="mod replST">
          <ac:chgData name="Valentin GIANNINI" userId="282844b5-3252-425c-a805-4aeabb26e807" providerId="ADAL" clId="{6F65D988-6654-4D8F-8947-7EFB8B39E7D8}" dt="2021-10-04T14:51:21.326" v="623"/>
          <ac:spMkLst>
            <pc:docMk/>
            <pc:sldMk cId="3500073032" sldId="452"/>
            <ac:spMk id="2" creationId="{3E2B16BF-D90E-4CAB-9297-C4D120D86C1A}"/>
          </ac:spMkLst>
        </pc:spChg>
        <pc:spChg chg="replST">
          <ac:chgData name="Valentin GIANNINI" userId="282844b5-3252-425c-a805-4aeabb26e807" providerId="ADAL" clId="{6F65D988-6654-4D8F-8947-7EFB8B39E7D8}" dt="2021-10-04T14:51:00.226" v="572"/>
          <ac:spMkLst>
            <pc:docMk/>
            <pc:sldMk cId="3500073032" sldId="452"/>
            <ac:spMk id="5" creationId="{6818AF18-CBB6-427B-A3E2-C96167856BB9}"/>
          </ac:spMkLst>
        </pc:spChg>
        <pc:spChg chg="replST">
          <ac:chgData name="Valentin GIANNINI" userId="282844b5-3252-425c-a805-4aeabb26e807" providerId="ADAL" clId="{6F65D988-6654-4D8F-8947-7EFB8B39E7D8}" dt="2021-10-04T14:51:00.214" v="570"/>
          <ac:spMkLst>
            <pc:docMk/>
            <pc:sldMk cId="3500073032" sldId="452"/>
            <ac:spMk id="6" creationId="{5E20247E-8AE2-9546-88DF-24BBEFC7E0A2}"/>
          </ac:spMkLst>
        </pc:spChg>
        <pc:spChg chg="replST">
          <ac:chgData name="Valentin GIANNINI" userId="282844b5-3252-425c-a805-4aeabb26e807" providerId="ADAL" clId="{6F65D988-6654-4D8F-8947-7EFB8B39E7D8}" dt="2021-10-04T14:51:00.242" v="575"/>
          <ac:spMkLst>
            <pc:docMk/>
            <pc:sldMk cId="3500073032" sldId="452"/>
            <ac:spMk id="13" creationId="{ECB5F9D2-5E2E-48F3-A835-C287D53FD216}"/>
          </ac:spMkLst>
        </pc:spChg>
        <pc:spChg chg="replST">
          <ac:chgData name="Valentin GIANNINI" userId="282844b5-3252-425c-a805-4aeabb26e807" providerId="ADAL" clId="{6F65D988-6654-4D8F-8947-7EFB8B39E7D8}" dt="2021-10-04T14:51:00.210" v="569"/>
          <ac:spMkLst>
            <pc:docMk/>
            <pc:sldMk cId="3500073032" sldId="452"/>
            <ac:spMk id="114" creationId="{00000000-0000-0000-0000-000000000000}"/>
          </ac:spMkLst>
        </pc:spChg>
        <pc:picChg chg="replST">
          <ac:chgData name="Valentin GIANNINI" userId="282844b5-3252-425c-a805-4aeabb26e807" providerId="ADAL" clId="{6F65D988-6654-4D8F-8947-7EFB8B39E7D8}" dt="2021-10-04T14:51:00.221" v="571"/>
          <ac:picMkLst>
            <pc:docMk/>
            <pc:sldMk cId="3500073032" sldId="452"/>
            <ac:picMk id="3" creationId="{3D77C924-8ACB-4330-8CDC-607FDAA26365}"/>
          </ac:picMkLst>
        </pc:picChg>
        <pc:picChg chg="replST">
          <ac:chgData name="Valentin GIANNINI" userId="282844b5-3252-425c-a805-4aeabb26e807" providerId="ADAL" clId="{6F65D988-6654-4D8F-8947-7EFB8B39E7D8}" dt="2021-10-04T14:51:00.236" v="574"/>
          <ac:picMkLst>
            <pc:docMk/>
            <pc:sldMk cId="3500073032" sldId="452"/>
            <ac:picMk id="8" creationId="{B998C903-BC62-4FF1-BD61-1421B3E22084}"/>
          </ac:picMkLst>
        </pc:picChg>
      </pc:sldChg>
      <pc:sldChg chg="modSp mod">
        <pc:chgData name="Valentin GIANNINI" userId="282844b5-3252-425c-a805-4aeabb26e807" providerId="ADAL" clId="{6F65D988-6654-4D8F-8947-7EFB8B39E7D8}" dt="2021-10-04T14:51:00.275" v="578"/>
        <pc:sldMkLst>
          <pc:docMk/>
          <pc:sldMk cId="2166528375" sldId="453"/>
        </pc:sldMkLst>
        <pc:spChg chg="replST">
          <ac:chgData name="Valentin GIANNINI" userId="282844b5-3252-425c-a805-4aeabb26e807" providerId="ADAL" clId="{6F65D988-6654-4D8F-8947-7EFB8B39E7D8}" dt="2021-10-04T14:51:00.267" v="577"/>
          <ac:spMkLst>
            <pc:docMk/>
            <pc:sldMk cId="2166528375" sldId="453"/>
            <ac:spMk id="6" creationId="{5E20247E-8AE2-9546-88DF-24BBEFC7E0A2}"/>
          </ac:spMkLst>
        </pc:spChg>
        <pc:spChg chg="replST">
          <ac:chgData name="Valentin GIANNINI" userId="282844b5-3252-425c-a805-4aeabb26e807" providerId="ADAL" clId="{6F65D988-6654-4D8F-8947-7EFB8B39E7D8}" dt="2021-10-04T14:51:00.261" v="576"/>
          <ac:spMkLst>
            <pc:docMk/>
            <pc:sldMk cId="2166528375" sldId="453"/>
            <ac:spMk id="114" creationId="{00000000-0000-0000-0000-000000000000}"/>
          </ac:spMkLst>
        </pc:spChg>
        <pc:picChg chg="replST">
          <ac:chgData name="Valentin GIANNINI" userId="282844b5-3252-425c-a805-4aeabb26e807" providerId="ADAL" clId="{6F65D988-6654-4D8F-8947-7EFB8B39E7D8}" dt="2021-10-04T14:51:00.275" v="578"/>
          <ac:picMkLst>
            <pc:docMk/>
            <pc:sldMk cId="2166528375" sldId="453"/>
            <ac:picMk id="3" creationId="{3D77C924-8ACB-4330-8CDC-607FDAA26365}"/>
          </ac:picMkLst>
        </pc:picChg>
      </pc:sldChg>
      <pc:sldChg chg="modSp mod">
        <pc:chgData name="Valentin GIANNINI" userId="282844b5-3252-425c-a805-4aeabb26e807" providerId="ADAL" clId="{6F65D988-6654-4D8F-8947-7EFB8B39E7D8}" dt="2021-10-04T14:51:00.385" v="596"/>
        <pc:sldMkLst>
          <pc:docMk/>
          <pc:sldMk cId="3361285994" sldId="457"/>
        </pc:sldMkLst>
        <pc:spChg chg="replST">
          <ac:chgData name="Valentin GIANNINI" userId="282844b5-3252-425c-a805-4aeabb26e807" providerId="ADAL" clId="{6F65D988-6654-4D8F-8947-7EFB8B39E7D8}" dt="2021-10-04T14:51:00.364" v="592"/>
          <ac:spMkLst>
            <pc:docMk/>
            <pc:sldMk cId="3361285994" sldId="457"/>
            <ac:spMk id="2" creationId="{23258FC2-8438-4CBA-AD6E-45B30001F109}"/>
          </ac:spMkLst>
        </pc:spChg>
        <pc:spChg chg="replST">
          <ac:chgData name="Valentin GIANNINI" userId="282844b5-3252-425c-a805-4aeabb26e807" providerId="ADAL" clId="{6F65D988-6654-4D8F-8947-7EFB8B39E7D8}" dt="2021-10-04T14:51:00.385" v="596"/>
          <ac:spMkLst>
            <pc:docMk/>
            <pc:sldMk cId="3361285994" sldId="457"/>
            <ac:spMk id="3" creationId="{1986A9FF-99A1-47C1-8325-E093E4E0B48C}"/>
          </ac:spMkLst>
        </pc:spChg>
        <pc:spChg chg="replST">
          <ac:chgData name="Valentin GIANNINI" userId="282844b5-3252-425c-a805-4aeabb26e807" providerId="ADAL" clId="{6F65D988-6654-4D8F-8947-7EFB8B39E7D8}" dt="2021-10-04T14:51:00.369" v="593"/>
          <ac:spMkLst>
            <pc:docMk/>
            <pc:sldMk cId="3361285994" sldId="457"/>
            <ac:spMk id="4" creationId="{3EDD771F-A26A-4179-B4A7-2335788933CC}"/>
          </ac:spMkLst>
        </pc:spChg>
        <pc:picChg chg="replST">
          <ac:chgData name="Valentin GIANNINI" userId="282844b5-3252-425c-a805-4aeabb26e807" providerId="ADAL" clId="{6F65D988-6654-4D8F-8947-7EFB8B39E7D8}" dt="2021-10-04T14:51:00.375" v="594"/>
          <ac:picMkLst>
            <pc:docMk/>
            <pc:sldMk cId="3361285994" sldId="457"/>
            <ac:picMk id="6" creationId="{E5367710-A2F4-4647-A784-DAC990519FCA}"/>
          </ac:picMkLst>
        </pc:picChg>
        <pc:picChg chg="replST">
          <ac:chgData name="Valentin GIANNINI" userId="282844b5-3252-425c-a805-4aeabb26e807" providerId="ADAL" clId="{6F65D988-6654-4D8F-8947-7EFB8B39E7D8}" dt="2021-10-04T14:51:00.380" v="595"/>
          <ac:picMkLst>
            <pc:docMk/>
            <pc:sldMk cId="3361285994" sldId="457"/>
            <ac:picMk id="7" creationId="{B8C1AB3B-8694-4E76-9D27-853447FE4107}"/>
          </ac:picMkLst>
        </pc:picChg>
      </pc:sldChg>
      <pc:sldChg chg="modSp mod modAnim">
        <pc:chgData name="Valentin GIANNINI" userId="282844b5-3252-425c-a805-4aeabb26e807" providerId="ADAL" clId="{6F65D988-6654-4D8F-8947-7EFB8B39E7D8}" dt="2021-10-04T14:51:59.932" v="626"/>
        <pc:sldMkLst>
          <pc:docMk/>
          <pc:sldMk cId="1926376704" sldId="458"/>
        </pc:sldMkLst>
        <pc:spChg chg="replST">
          <ac:chgData name="Valentin GIANNINI" userId="282844b5-3252-425c-a805-4aeabb26e807" providerId="ADAL" clId="{6F65D988-6654-4D8F-8947-7EFB8B39E7D8}" dt="2021-10-04T14:51:00.393" v="597"/>
          <ac:spMkLst>
            <pc:docMk/>
            <pc:sldMk cId="1926376704" sldId="458"/>
            <ac:spMk id="2" creationId="{52ADAF92-E5BC-486F-82F0-FC0A2847B1A4}"/>
          </ac:spMkLst>
        </pc:spChg>
        <pc:spChg chg="mod replST">
          <ac:chgData name="Valentin GIANNINI" userId="282844b5-3252-425c-a805-4aeabb26e807" providerId="ADAL" clId="{6F65D988-6654-4D8F-8947-7EFB8B39E7D8}" dt="2021-10-04T14:51:44.449" v="624"/>
          <ac:spMkLst>
            <pc:docMk/>
            <pc:sldMk cId="1926376704" sldId="458"/>
            <ac:spMk id="3" creationId="{1504E2C4-5459-4EC7-9CE2-58CD68F8A722}"/>
          </ac:spMkLst>
        </pc:spChg>
        <pc:spChg chg="mod replST">
          <ac:chgData name="Valentin GIANNINI" userId="282844b5-3252-425c-a805-4aeabb26e807" providerId="ADAL" clId="{6F65D988-6654-4D8F-8947-7EFB8B39E7D8}" dt="2021-10-04T14:51:59.932" v="626"/>
          <ac:spMkLst>
            <pc:docMk/>
            <pc:sldMk cId="1926376704" sldId="458"/>
            <ac:spMk id="4" creationId="{0C8FBDDC-A571-427E-B22F-6A2A37C238C1}"/>
          </ac:spMkLst>
        </pc:spChg>
        <pc:spChg chg="replST">
          <ac:chgData name="Valentin GIANNINI" userId="282844b5-3252-425c-a805-4aeabb26e807" providerId="ADAL" clId="{6F65D988-6654-4D8F-8947-7EFB8B39E7D8}" dt="2021-10-04T14:51:00.423" v="602"/>
          <ac:spMkLst>
            <pc:docMk/>
            <pc:sldMk cId="1926376704" sldId="458"/>
            <ac:spMk id="6" creationId="{1A88F0BD-7D7A-4CA7-A8AD-3909C339CB7C}"/>
          </ac:spMkLst>
        </pc:spChg>
        <pc:spChg chg="replST">
          <ac:chgData name="Valentin GIANNINI" userId="282844b5-3252-425c-a805-4aeabb26e807" providerId="ADAL" clId="{6F65D988-6654-4D8F-8947-7EFB8B39E7D8}" dt="2021-10-04T14:51:00.428" v="603"/>
          <ac:spMkLst>
            <pc:docMk/>
            <pc:sldMk cId="1926376704" sldId="458"/>
            <ac:spMk id="7" creationId="{1AAC40EB-A6E4-4E48-832F-AA7A9AFC39BB}"/>
          </ac:spMkLst>
        </pc:spChg>
        <pc:spChg chg="mod replST">
          <ac:chgData name="Valentin GIANNINI" userId="282844b5-3252-425c-a805-4aeabb26e807" providerId="ADAL" clId="{6F65D988-6654-4D8F-8947-7EFB8B39E7D8}" dt="2021-10-04T14:51:00.411" v="600"/>
          <ac:spMkLst>
            <pc:docMk/>
            <pc:sldMk cId="1926376704" sldId="458"/>
            <ac:spMk id="12" creationId="{DA518D36-1E83-493D-8834-42A4543931F7}"/>
          </ac:spMkLst>
        </pc:spChg>
        <pc:spChg chg="mod replST">
          <ac:chgData name="Valentin GIANNINI" userId="282844b5-3252-425c-a805-4aeabb26e807" providerId="ADAL" clId="{6F65D988-6654-4D8F-8947-7EFB8B39E7D8}" dt="2021-10-04T14:51:00.416" v="601"/>
          <ac:spMkLst>
            <pc:docMk/>
            <pc:sldMk cId="1926376704" sldId="458"/>
            <ac:spMk id="13" creationId="{D44C632E-9ABB-463F-A11F-E9B4DD317F09}"/>
          </ac:spMkLst>
        </pc:spChg>
        <pc:picChg chg="mod replST">
          <ac:chgData name="Valentin GIANNINI" userId="282844b5-3252-425c-a805-4aeabb26e807" providerId="ADAL" clId="{6F65D988-6654-4D8F-8947-7EFB8B39E7D8}" dt="2021-10-04T14:51:00.433" v="604"/>
          <ac:picMkLst>
            <pc:docMk/>
            <pc:sldMk cId="1926376704" sldId="458"/>
            <ac:picMk id="5" creationId="{6AAB9130-0C37-4FFD-8AA2-03BCC50649F7}"/>
          </ac:picMkLst>
        </pc:picChg>
        <pc:picChg chg="mod replST">
          <ac:chgData name="Valentin GIANNINI" userId="282844b5-3252-425c-a805-4aeabb26e807" providerId="ADAL" clId="{6F65D988-6654-4D8F-8947-7EFB8B39E7D8}" dt="2021-10-04T14:51:00.439" v="605"/>
          <ac:picMkLst>
            <pc:docMk/>
            <pc:sldMk cId="1926376704" sldId="458"/>
            <ac:picMk id="8" creationId="{E5B5F5A9-BAFD-4395-98B9-4B334E4F7F6B}"/>
          </ac:picMkLst>
        </pc:picChg>
        <pc:picChg chg="mod replST">
          <ac:chgData name="Valentin GIANNINI" userId="282844b5-3252-425c-a805-4aeabb26e807" providerId="ADAL" clId="{6F65D988-6654-4D8F-8947-7EFB8B39E7D8}" dt="2021-10-04T14:51:00.445" v="606"/>
          <ac:picMkLst>
            <pc:docMk/>
            <pc:sldMk cId="1926376704" sldId="458"/>
            <ac:picMk id="14" creationId="{A556DE4B-4CC2-4C7F-86A4-F5B6DF960B87}"/>
          </ac:picMkLst>
        </pc:picChg>
      </pc:sldChg>
      <pc:sldChg chg="modSp mod">
        <pc:chgData name="Valentin GIANNINI" userId="282844b5-3252-425c-a805-4aeabb26e807" providerId="ADAL" clId="{6F65D988-6654-4D8F-8947-7EFB8B39E7D8}" dt="2021-10-04T14:52:14.874" v="628"/>
        <pc:sldMkLst>
          <pc:docMk/>
          <pc:sldMk cId="1906424831" sldId="459"/>
        </pc:sldMkLst>
        <pc:spChg chg="replST">
          <ac:chgData name="Valentin GIANNINI" userId="282844b5-3252-425c-a805-4aeabb26e807" providerId="ADAL" clId="{6F65D988-6654-4D8F-8947-7EFB8B39E7D8}" dt="2021-10-04T14:51:00.490" v="613"/>
          <ac:spMkLst>
            <pc:docMk/>
            <pc:sldMk cId="1906424831" sldId="459"/>
            <ac:spMk id="2" creationId="{49EF55FD-BC59-40EE-86E7-513B3FE9284E}"/>
          </ac:spMkLst>
        </pc:spChg>
        <pc:spChg chg="mod replST">
          <ac:chgData name="Valentin GIANNINI" userId="282844b5-3252-425c-a805-4aeabb26e807" providerId="ADAL" clId="{6F65D988-6654-4D8F-8947-7EFB8B39E7D8}" dt="2021-10-04T14:52:14.874" v="628"/>
          <ac:spMkLst>
            <pc:docMk/>
            <pc:sldMk cId="1906424831" sldId="459"/>
            <ac:spMk id="4" creationId="{51B76309-DC50-46C1-8241-C5D5318F40D2}"/>
          </ac:spMkLst>
        </pc:spChg>
        <pc:spChg chg="replST">
          <ac:chgData name="Valentin GIANNINI" userId="282844b5-3252-425c-a805-4aeabb26e807" providerId="ADAL" clId="{6F65D988-6654-4D8F-8947-7EFB8B39E7D8}" dt="2021-10-04T14:51:00.465" v="609"/>
          <ac:spMkLst>
            <pc:docMk/>
            <pc:sldMk cId="1906424831" sldId="459"/>
            <ac:spMk id="5" creationId="{7A3882F4-9DAB-482B-A325-394A9E9E1CEF}"/>
          </ac:spMkLst>
        </pc:spChg>
        <pc:picChg chg="replST">
          <ac:chgData name="Valentin GIANNINI" userId="282844b5-3252-425c-a805-4aeabb26e807" providerId="ADAL" clId="{6F65D988-6654-4D8F-8947-7EFB8B39E7D8}" dt="2021-10-04T14:51:00.471" v="610"/>
          <ac:picMkLst>
            <pc:docMk/>
            <pc:sldMk cId="1906424831" sldId="459"/>
            <ac:picMk id="7" creationId="{AE3D6537-33D9-4157-956D-8B8DAD5832FC}"/>
          </ac:picMkLst>
        </pc:picChg>
        <pc:picChg chg="replST">
          <ac:chgData name="Valentin GIANNINI" userId="282844b5-3252-425c-a805-4aeabb26e807" providerId="ADAL" clId="{6F65D988-6654-4D8F-8947-7EFB8B39E7D8}" dt="2021-10-04T14:51:00.478" v="611"/>
          <ac:picMkLst>
            <pc:docMk/>
            <pc:sldMk cId="1906424831" sldId="459"/>
            <ac:picMk id="8" creationId="{03A9849B-044F-4976-85B1-1B1B3EB1CCB9}"/>
          </ac:picMkLst>
        </pc:picChg>
        <pc:picChg chg="replST">
          <ac:chgData name="Valentin GIANNINI" userId="282844b5-3252-425c-a805-4aeabb26e807" providerId="ADAL" clId="{6F65D988-6654-4D8F-8947-7EFB8B39E7D8}" dt="2021-10-04T14:51:00.483" v="612"/>
          <ac:picMkLst>
            <pc:docMk/>
            <pc:sldMk cId="1906424831" sldId="459"/>
            <ac:picMk id="9" creationId="{C8674641-C656-4AFB-8306-1EFC39D264DB}"/>
          </ac:picMkLst>
        </pc:picChg>
        <pc:picChg chg="replST">
          <ac:chgData name="Valentin GIANNINI" userId="282844b5-3252-425c-a805-4aeabb26e807" providerId="ADAL" clId="{6F65D988-6654-4D8F-8947-7EFB8B39E7D8}" dt="2021-10-04T14:51:00.452" v="607"/>
          <ac:picMkLst>
            <pc:docMk/>
            <pc:sldMk cId="1906424831" sldId="459"/>
            <ac:picMk id="10" creationId="{013EEE5D-B5B2-418E-A72A-8B73E1E06756}"/>
          </ac:picMkLst>
        </pc:picChg>
      </pc:sldChg>
      <pc:sldChg chg="modSp mod">
        <pc:chgData name="Valentin GIANNINI" userId="282844b5-3252-425c-a805-4aeabb26e807" providerId="ADAL" clId="{6F65D988-6654-4D8F-8947-7EFB8B39E7D8}" dt="2021-10-04T14:51:00.528" v="618"/>
        <pc:sldMkLst>
          <pc:docMk/>
          <pc:sldMk cId="315501203" sldId="460"/>
        </pc:sldMkLst>
        <pc:spChg chg="replST">
          <ac:chgData name="Valentin GIANNINI" userId="282844b5-3252-425c-a805-4aeabb26e807" providerId="ADAL" clId="{6F65D988-6654-4D8F-8947-7EFB8B39E7D8}" dt="2021-10-04T14:51:00.498" v="614"/>
          <ac:spMkLst>
            <pc:docMk/>
            <pc:sldMk cId="315501203" sldId="460"/>
            <ac:spMk id="2" creationId="{67ADDAAC-6641-4395-8652-12E3D2CDA8E5}"/>
          </ac:spMkLst>
        </pc:spChg>
        <pc:spChg chg="replST">
          <ac:chgData name="Valentin GIANNINI" userId="282844b5-3252-425c-a805-4aeabb26e807" providerId="ADAL" clId="{6F65D988-6654-4D8F-8947-7EFB8B39E7D8}" dt="2021-10-04T14:51:00.505" v="615"/>
          <ac:spMkLst>
            <pc:docMk/>
            <pc:sldMk cId="315501203" sldId="460"/>
            <ac:spMk id="3" creationId="{6377E8BE-452F-4666-A784-50D0FC080972}"/>
          </ac:spMkLst>
        </pc:spChg>
        <pc:picChg chg="replST">
          <ac:chgData name="Valentin GIANNINI" userId="282844b5-3252-425c-a805-4aeabb26e807" providerId="ADAL" clId="{6F65D988-6654-4D8F-8947-7EFB8B39E7D8}" dt="2021-10-04T14:51:00.518" v="616"/>
          <ac:picMkLst>
            <pc:docMk/>
            <pc:sldMk cId="315501203" sldId="460"/>
            <ac:picMk id="4" creationId="{AB3F4BE8-BA05-4E90-8BA6-4F9733A4E9BC}"/>
          </ac:picMkLst>
        </pc:picChg>
        <pc:picChg chg="replST">
          <ac:chgData name="Valentin GIANNINI" userId="282844b5-3252-425c-a805-4aeabb26e807" providerId="ADAL" clId="{6F65D988-6654-4D8F-8947-7EFB8B39E7D8}" dt="2021-10-04T14:51:00.523" v="617"/>
          <ac:picMkLst>
            <pc:docMk/>
            <pc:sldMk cId="315501203" sldId="460"/>
            <ac:picMk id="5" creationId="{BE50C9B2-2BA7-4EC1-AD68-F581DA359C25}"/>
          </ac:picMkLst>
        </pc:picChg>
        <pc:picChg chg="replST">
          <ac:chgData name="Valentin GIANNINI" userId="282844b5-3252-425c-a805-4aeabb26e807" providerId="ADAL" clId="{6F65D988-6654-4D8F-8947-7EFB8B39E7D8}" dt="2021-10-04T14:51:00.528" v="618"/>
          <ac:picMkLst>
            <pc:docMk/>
            <pc:sldMk cId="315501203" sldId="460"/>
            <ac:picMk id="7" creationId="{5B59B884-27AE-410E-AB5B-D05EC79061CD}"/>
          </ac:picMkLst>
        </pc:picChg>
      </pc:sldChg>
      <pc:sldChg chg="modSp mod">
        <pc:chgData name="Valentin GIANNINI" userId="282844b5-3252-425c-a805-4aeabb26e807" providerId="ADAL" clId="{6F65D988-6654-4D8F-8947-7EFB8B39E7D8}" dt="2021-10-04T14:50:59.513" v="486"/>
        <pc:sldMkLst>
          <pc:docMk/>
          <pc:sldMk cId="344247155" sldId="461"/>
        </pc:sldMkLst>
        <pc:spChg chg="replST">
          <ac:chgData name="Valentin GIANNINI" userId="282844b5-3252-425c-a805-4aeabb26e807" providerId="ADAL" clId="{6F65D988-6654-4D8F-8947-7EFB8B39E7D8}" dt="2021-10-04T14:50:59.504" v="485"/>
          <ac:spMkLst>
            <pc:docMk/>
            <pc:sldMk cId="344247155" sldId="461"/>
            <ac:spMk id="6" creationId="{4063E0E6-B684-451F-9A13-AEB37A3B099D}"/>
          </ac:spMkLst>
        </pc:spChg>
        <pc:spChg chg="replST">
          <ac:chgData name="Valentin GIANNINI" userId="282844b5-3252-425c-a805-4aeabb26e807" providerId="ADAL" clId="{6F65D988-6654-4D8F-8947-7EFB8B39E7D8}" dt="2021-10-04T14:50:59.474" v="481"/>
          <ac:spMkLst>
            <pc:docMk/>
            <pc:sldMk cId="344247155" sldId="461"/>
            <ac:spMk id="7" creationId="{05D1B5EE-240F-814A-AF5F-859388321503}"/>
          </ac:spMkLst>
        </pc:spChg>
        <pc:spChg chg="replST">
          <ac:chgData name="Valentin GIANNINI" userId="282844b5-3252-425c-a805-4aeabb26e807" providerId="ADAL" clId="{6F65D988-6654-4D8F-8947-7EFB8B39E7D8}" dt="2021-10-04T14:50:59.481" v="482"/>
          <ac:spMkLst>
            <pc:docMk/>
            <pc:sldMk cId="344247155" sldId="461"/>
            <ac:spMk id="14" creationId="{ADE24960-3DC1-4F40-8705-D09E167A0C53}"/>
          </ac:spMkLst>
        </pc:spChg>
        <pc:spChg chg="replST">
          <ac:chgData name="Valentin GIANNINI" userId="282844b5-3252-425c-a805-4aeabb26e807" providerId="ADAL" clId="{6F65D988-6654-4D8F-8947-7EFB8B39E7D8}" dt="2021-10-04T14:50:59.490" v="483"/>
          <ac:spMkLst>
            <pc:docMk/>
            <pc:sldMk cId="344247155" sldId="461"/>
            <ac:spMk id="15" creationId="{876AB4B5-129A-7F43-9340-1BAF49B9B459}"/>
          </ac:spMkLst>
        </pc:spChg>
        <pc:spChg chg="replST">
          <ac:chgData name="Valentin GIANNINI" userId="282844b5-3252-425c-a805-4aeabb26e807" providerId="ADAL" clId="{6F65D988-6654-4D8F-8947-7EFB8B39E7D8}" dt="2021-10-04T14:50:59.513" v="486"/>
          <ac:spMkLst>
            <pc:docMk/>
            <pc:sldMk cId="344247155" sldId="461"/>
            <ac:spMk id="20" creationId="{2B8CC9A3-E53A-48FC-A1DE-A5BBF8D87DCA}"/>
          </ac:spMkLst>
        </pc:spChg>
        <pc:grpChg chg="replST">
          <ac:chgData name="Valentin GIANNINI" userId="282844b5-3252-425c-a805-4aeabb26e807" providerId="ADAL" clId="{6F65D988-6654-4D8F-8947-7EFB8B39E7D8}" dt="2021-10-04T14:50:59.497" v="484"/>
          <ac:grpSpMkLst>
            <pc:docMk/>
            <pc:sldMk cId="344247155" sldId="461"/>
            <ac:grpSpMk id="17" creationId="{963E893A-AEA7-46A0-83FA-1BEA3EFF4403}"/>
          </ac:grpSpMkLst>
        </pc:grpChg>
      </pc:sldChg>
      <pc:sldChg chg="modSp mod">
        <pc:chgData name="Valentin GIANNINI" userId="282844b5-3252-425c-a805-4aeabb26e807" providerId="ADAL" clId="{6F65D988-6654-4D8F-8947-7EFB8B39E7D8}" dt="2021-10-04T14:50:59.707" v="513"/>
        <pc:sldMkLst>
          <pc:docMk/>
          <pc:sldMk cId="3646406489" sldId="462"/>
        </pc:sldMkLst>
        <pc:spChg chg="replST">
          <ac:chgData name="Valentin GIANNINI" userId="282844b5-3252-425c-a805-4aeabb26e807" providerId="ADAL" clId="{6F65D988-6654-4D8F-8947-7EFB8B39E7D8}" dt="2021-10-04T14:50:59.639" v="503"/>
          <ac:spMkLst>
            <pc:docMk/>
            <pc:sldMk cId="3646406489" sldId="462"/>
            <ac:spMk id="4" creationId="{0E87D8D9-34E4-CF48-A15B-512199FF8322}"/>
          </ac:spMkLst>
        </pc:spChg>
        <pc:spChg chg="replST">
          <ac:chgData name="Valentin GIANNINI" userId="282844b5-3252-425c-a805-4aeabb26e807" providerId="ADAL" clId="{6F65D988-6654-4D8F-8947-7EFB8B39E7D8}" dt="2021-10-04T14:50:59.645" v="504"/>
          <ac:spMkLst>
            <pc:docMk/>
            <pc:sldMk cId="3646406489" sldId="462"/>
            <ac:spMk id="6" creationId="{32C6BDDD-F533-2041-965A-8F8BEF34BDD6}"/>
          </ac:spMkLst>
        </pc:spChg>
        <pc:spChg chg="replST">
          <ac:chgData name="Valentin GIANNINI" userId="282844b5-3252-425c-a805-4aeabb26e807" providerId="ADAL" clId="{6F65D988-6654-4D8F-8947-7EFB8B39E7D8}" dt="2021-10-04T14:50:59.663" v="507"/>
          <ac:spMkLst>
            <pc:docMk/>
            <pc:sldMk cId="3646406489" sldId="462"/>
            <ac:spMk id="9" creationId="{358B959F-C6C3-4AF8-AAA9-9D63DCC260CB}"/>
          </ac:spMkLst>
        </pc:spChg>
        <pc:grpChg chg="replST">
          <ac:chgData name="Valentin GIANNINI" userId="282844b5-3252-425c-a805-4aeabb26e807" providerId="ADAL" clId="{6F65D988-6654-4D8F-8947-7EFB8B39E7D8}" dt="2021-10-04T14:50:59.707" v="513"/>
          <ac:grpSpMkLst>
            <pc:docMk/>
            <pc:sldMk cId="3646406489" sldId="462"/>
            <ac:grpSpMk id="31" creationId="{A21468A7-6BF1-4484-B8D7-A1E477B4A15D}"/>
          </ac:grpSpMkLst>
        </pc:grpChg>
        <pc:grpChg chg="replST">
          <ac:chgData name="Valentin GIANNINI" userId="282844b5-3252-425c-a805-4aeabb26e807" providerId="ADAL" clId="{6F65D988-6654-4D8F-8947-7EFB8B39E7D8}" dt="2021-10-04T14:50:59.700" v="512"/>
          <ac:grpSpMkLst>
            <pc:docMk/>
            <pc:sldMk cId="3646406489" sldId="462"/>
            <ac:grpSpMk id="32" creationId="{8E9C8F95-1AFE-4606-B931-99524515E1D2}"/>
          </ac:grpSpMkLst>
        </pc:grpChg>
        <pc:grpChg chg="replST">
          <ac:chgData name="Valentin GIANNINI" userId="282844b5-3252-425c-a805-4aeabb26e807" providerId="ADAL" clId="{6F65D988-6654-4D8F-8947-7EFB8B39E7D8}" dt="2021-10-04T14:50:59.686" v="511"/>
          <ac:grpSpMkLst>
            <pc:docMk/>
            <pc:sldMk cId="3646406489" sldId="462"/>
            <ac:grpSpMk id="33" creationId="{85C4A845-040C-40A9-9BB2-C23577D36122}"/>
          </ac:grpSpMkLst>
        </pc:grpChg>
        <pc:grpChg chg="replST">
          <ac:chgData name="Valentin GIANNINI" userId="282844b5-3252-425c-a805-4aeabb26e807" providerId="ADAL" clId="{6F65D988-6654-4D8F-8947-7EFB8B39E7D8}" dt="2021-10-04T14:50:59.680" v="510"/>
          <ac:grpSpMkLst>
            <pc:docMk/>
            <pc:sldMk cId="3646406489" sldId="462"/>
            <ac:grpSpMk id="34" creationId="{AC927F0D-6770-492F-985F-BB0C5878AF40}"/>
          </ac:grpSpMkLst>
        </pc:grpChg>
        <pc:grpChg chg="replST">
          <ac:chgData name="Valentin GIANNINI" userId="282844b5-3252-425c-a805-4aeabb26e807" providerId="ADAL" clId="{6F65D988-6654-4D8F-8947-7EFB8B39E7D8}" dt="2021-10-04T14:50:59.675" v="509"/>
          <ac:grpSpMkLst>
            <pc:docMk/>
            <pc:sldMk cId="3646406489" sldId="462"/>
            <ac:grpSpMk id="35" creationId="{7A6A0A94-423B-4D2D-B1B1-519884EF8C45}"/>
          </ac:grpSpMkLst>
        </pc:grpChg>
        <pc:grpChg chg="replST">
          <ac:chgData name="Valentin GIANNINI" userId="282844b5-3252-425c-a805-4aeabb26e807" providerId="ADAL" clId="{6F65D988-6654-4D8F-8947-7EFB8B39E7D8}" dt="2021-10-04T14:50:59.669" v="508"/>
          <ac:grpSpMkLst>
            <pc:docMk/>
            <pc:sldMk cId="3646406489" sldId="462"/>
            <ac:grpSpMk id="36" creationId="{F87077FE-FAA9-4C52-8017-18D19143075A}"/>
          </ac:grpSpMkLst>
        </pc:grpChg>
        <pc:graphicFrameChg chg="replST">
          <ac:chgData name="Valentin GIANNINI" userId="282844b5-3252-425c-a805-4aeabb26e807" providerId="ADAL" clId="{6F65D988-6654-4D8F-8947-7EFB8B39E7D8}" dt="2021-10-04T14:50:59.651" v="505"/>
          <ac:graphicFrameMkLst>
            <pc:docMk/>
            <pc:sldMk cId="3646406489" sldId="462"/>
            <ac:graphicFrameMk id="7" creationId="{836167B7-6775-3E4A-B03C-A4B9E52D0726}"/>
          </ac:graphicFrameMkLst>
        </pc:graphicFrameChg>
        <pc:picChg chg="replST">
          <ac:chgData name="Valentin GIANNINI" userId="282844b5-3252-425c-a805-4aeabb26e807" providerId="ADAL" clId="{6F65D988-6654-4D8F-8947-7EFB8B39E7D8}" dt="2021-10-04T14:50:59.658" v="506"/>
          <ac:picMkLst>
            <pc:docMk/>
            <pc:sldMk cId="3646406489" sldId="462"/>
            <ac:picMk id="5" creationId="{46C70B22-3337-4E7F-BDB7-E7BC3B0F8CE9}"/>
          </ac:picMkLst>
        </pc:picChg>
      </pc:sldChg>
      <pc:sldChg chg="modSp mod">
        <pc:chgData name="Valentin GIANNINI" userId="282844b5-3252-425c-a805-4aeabb26e807" providerId="ADAL" clId="{6F65D988-6654-4D8F-8947-7EFB8B39E7D8}" dt="2021-10-04T14:50:59.550" v="490"/>
        <pc:sldMkLst>
          <pc:docMk/>
          <pc:sldMk cId="950167900" sldId="463"/>
        </pc:sldMkLst>
        <pc:spChg chg="replST">
          <ac:chgData name="Valentin GIANNINI" userId="282844b5-3252-425c-a805-4aeabb26e807" providerId="ADAL" clId="{6F65D988-6654-4D8F-8947-7EFB8B39E7D8}" dt="2021-10-04T14:50:59.542" v="489"/>
          <ac:spMkLst>
            <pc:docMk/>
            <pc:sldMk cId="950167900" sldId="463"/>
            <ac:spMk id="2" creationId="{2CEF1B7E-C78A-4E45-AF68-C88303977A3F}"/>
          </ac:spMkLst>
        </pc:spChg>
        <pc:spChg chg="replST">
          <ac:chgData name="Valentin GIANNINI" userId="282844b5-3252-425c-a805-4aeabb26e807" providerId="ADAL" clId="{6F65D988-6654-4D8F-8947-7EFB8B39E7D8}" dt="2021-10-04T14:50:59.527" v="487"/>
          <ac:spMkLst>
            <pc:docMk/>
            <pc:sldMk cId="950167900" sldId="463"/>
            <ac:spMk id="14" creationId="{ADE24960-3DC1-4F40-8705-D09E167A0C53}"/>
          </ac:spMkLst>
        </pc:spChg>
        <pc:spChg chg="replST">
          <ac:chgData name="Valentin GIANNINI" userId="282844b5-3252-425c-a805-4aeabb26e807" providerId="ADAL" clId="{6F65D988-6654-4D8F-8947-7EFB8B39E7D8}" dt="2021-10-04T14:50:59.534" v="488"/>
          <ac:spMkLst>
            <pc:docMk/>
            <pc:sldMk cId="950167900" sldId="463"/>
            <ac:spMk id="15" creationId="{876AB4B5-129A-7F43-9340-1BAF49B9B459}"/>
          </ac:spMkLst>
        </pc:spChg>
        <pc:picChg chg="replST">
          <ac:chgData name="Valentin GIANNINI" userId="282844b5-3252-425c-a805-4aeabb26e807" providerId="ADAL" clId="{6F65D988-6654-4D8F-8947-7EFB8B39E7D8}" dt="2021-10-04T14:50:59.550" v="490"/>
          <ac:picMkLst>
            <pc:docMk/>
            <pc:sldMk cId="950167900" sldId="463"/>
            <ac:picMk id="28" creationId="{B1F62134-82CF-469E-873E-92E881925F7F}"/>
          </ac:picMkLst>
        </pc:picChg>
      </pc:sldChg>
      <pc:sldChg chg="modSp mod">
        <pc:chgData name="Valentin GIANNINI" userId="282844b5-3252-425c-a805-4aeabb26e807" providerId="ADAL" clId="{6F65D988-6654-4D8F-8947-7EFB8B39E7D8}" dt="2021-10-04T14:50:59.576" v="494"/>
        <pc:sldMkLst>
          <pc:docMk/>
          <pc:sldMk cId="3768523349" sldId="466"/>
        </pc:sldMkLst>
        <pc:spChg chg="replST">
          <ac:chgData name="Valentin GIANNINI" userId="282844b5-3252-425c-a805-4aeabb26e807" providerId="ADAL" clId="{6F65D988-6654-4D8F-8947-7EFB8B39E7D8}" dt="2021-10-04T14:50:59.572" v="493"/>
          <ac:spMkLst>
            <pc:docMk/>
            <pc:sldMk cId="3768523349" sldId="466"/>
            <ac:spMk id="5" creationId="{8B42332C-E03B-4F53-B7CE-BC37999C8DC8}"/>
          </ac:spMkLst>
        </pc:spChg>
        <pc:spChg chg="replST">
          <ac:chgData name="Valentin GIANNINI" userId="282844b5-3252-425c-a805-4aeabb26e807" providerId="ADAL" clId="{6F65D988-6654-4D8F-8947-7EFB8B39E7D8}" dt="2021-10-04T14:50:59.559" v="491"/>
          <ac:spMkLst>
            <pc:docMk/>
            <pc:sldMk cId="3768523349" sldId="466"/>
            <ac:spMk id="14" creationId="{ADE24960-3DC1-4F40-8705-D09E167A0C53}"/>
          </ac:spMkLst>
        </pc:spChg>
        <pc:grpChg chg="replST">
          <ac:chgData name="Valentin GIANNINI" userId="282844b5-3252-425c-a805-4aeabb26e807" providerId="ADAL" clId="{6F65D988-6654-4D8F-8947-7EFB8B39E7D8}" dt="2021-10-04T14:50:59.576" v="494"/>
          <ac:grpSpMkLst>
            <pc:docMk/>
            <pc:sldMk cId="3768523349" sldId="466"/>
            <ac:grpSpMk id="17" creationId="{A259B8C5-CF0E-41D6-87C9-38ADA558328A}"/>
          </ac:grpSpMkLst>
        </pc:grpChg>
        <pc:graphicFrameChg chg="replST">
          <ac:chgData name="Valentin GIANNINI" userId="282844b5-3252-425c-a805-4aeabb26e807" providerId="ADAL" clId="{6F65D988-6654-4D8F-8947-7EFB8B39E7D8}" dt="2021-10-04T14:50:59.566" v="492"/>
          <ac:graphicFrameMkLst>
            <pc:docMk/>
            <pc:sldMk cId="3768523349" sldId="466"/>
            <ac:graphicFrameMk id="2" creationId="{6A0EECAD-3F4D-4D4D-85CD-0E1ABE4D71F3}"/>
          </ac:graphicFrameMkLst>
        </pc:graphicFrameChg>
      </pc:sldChg>
      <pc:sldChg chg="modSp mod">
        <pc:chgData name="Valentin GIANNINI" userId="282844b5-3252-425c-a805-4aeabb26e807" providerId="ADAL" clId="{6F65D988-6654-4D8F-8947-7EFB8B39E7D8}" dt="2021-10-04T14:50:59.603" v="498"/>
        <pc:sldMkLst>
          <pc:docMk/>
          <pc:sldMk cId="2889930414" sldId="467"/>
        </pc:sldMkLst>
        <pc:spChg chg="replST">
          <ac:chgData name="Valentin GIANNINI" userId="282844b5-3252-425c-a805-4aeabb26e807" providerId="ADAL" clId="{6F65D988-6654-4D8F-8947-7EFB8B39E7D8}" dt="2021-10-04T14:50:59.596" v="497"/>
          <ac:spMkLst>
            <pc:docMk/>
            <pc:sldMk cId="2889930414" sldId="467"/>
            <ac:spMk id="4" creationId="{DAED5303-9386-4371-B9B0-CFC81F682F67}"/>
          </ac:spMkLst>
        </pc:spChg>
        <pc:spChg chg="replST">
          <ac:chgData name="Valentin GIANNINI" userId="282844b5-3252-425c-a805-4aeabb26e807" providerId="ADAL" clId="{6F65D988-6654-4D8F-8947-7EFB8B39E7D8}" dt="2021-10-04T14:50:59.584" v="495"/>
          <ac:spMkLst>
            <pc:docMk/>
            <pc:sldMk cId="2889930414" sldId="467"/>
            <ac:spMk id="14" creationId="{ADE24960-3DC1-4F40-8705-D09E167A0C53}"/>
          </ac:spMkLst>
        </pc:spChg>
        <pc:grpChg chg="replST">
          <ac:chgData name="Valentin GIANNINI" userId="282844b5-3252-425c-a805-4aeabb26e807" providerId="ADAL" clId="{6F65D988-6654-4D8F-8947-7EFB8B39E7D8}" dt="2021-10-04T14:50:59.603" v="498"/>
          <ac:grpSpMkLst>
            <pc:docMk/>
            <pc:sldMk cId="2889930414" sldId="467"/>
            <ac:grpSpMk id="5" creationId="{F3C15CFF-821F-4BED-9755-BD9139A05F62}"/>
          </ac:grpSpMkLst>
        </pc:grpChg>
        <pc:graphicFrameChg chg="replST">
          <ac:chgData name="Valentin GIANNINI" userId="282844b5-3252-425c-a805-4aeabb26e807" providerId="ADAL" clId="{6F65D988-6654-4D8F-8947-7EFB8B39E7D8}" dt="2021-10-04T14:50:59.591" v="496"/>
          <ac:graphicFrameMkLst>
            <pc:docMk/>
            <pc:sldMk cId="2889930414" sldId="467"/>
            <ac:graphicFrameMk id="2" creationId="{6A0EECAD-3F4D-4D4D-85CD-0E1ABE4D71F3}"/>
          </ac:graphicFrameMkLst>
        </pc:graphicFrameChg>
      </pc:sldChg>
      <pc:sldChg chg="modSp mod">
        <pc:chgData name="Valentin GIANNINI" userId="282844b5-3252-425c-a805-4aeabb26e807" providerId="ADAL" clId="{6F65D988-6654-4D8F-8947-7EFB8B39E7D8}" dt="2021-10-04T14:51:00.343" v="589"/>
        <pc:sldMkLst>
          <pc:docMk/>
          <pc:sldMk cId="1771016552" sldId="471"/>
        </pc:sldMkLst>
        <pc:spChg chg="replST">
          <ac:chgData name="Valentin GIANNINI" userId="282844b5-3252-425c-a805-4aeabb26e807" providerId="ADAL" clId="{6F65D988-6654-4D8F-8947-7EFB8B39E7D8}" dt="2021-10-04T14:51:00.314" v="584"/>
          <ac:spMkLst>
            <pc:docMk/>
            <pc:sldMk cId="1771016552" sldId="471"/>
            <ac:spMk id="7" creationId="{39DDE29E-84F9-41B1-A100-D22A8C73FF08}"/>
          </ac:spMkLst>
        </pc:spChg>
        <pc:spChg chg="replST">
          <ac:chgData name="Valentin GIANNINI" userId="282844b5-3252-425c-a805-4aeabb26e807" providerId="ADAL" clId="{6F65D988-6654-4D8F-8947-7EFB8B39E7D8}" dt="2021-10-04T14:51:00.319" v="585"/>
          <ac:spMkLst>
            <pc:docMk/>
            <pc:sldMk cId="1771016552" sldId="471"/>
            <ac:spMk id="8" creationId="{B0ED2DD0-FFF4-4900-9058-6B9BC692F09C}"/>
          </ac:spMkLst>
        </pc:spChg>
        <pc:spChg chg="replST">
          <ac:chgData name="Valentin GIANNINI" userId="282844b5-3252-425c-a805-4aeabb26e807" providerId="ADAL" clId="{6F65D988-6654-4D8F-8947-7EFB8B39E7D8}" dt="2021-10-04T14:51:00.326" v="586"/>
          <ac:spMkLst>
            <pc:docMk/>
            <pc:sldMk cId="1771016552" sldId="471"/>
            <ac:spMk id="10" creationId="{B415D678-5BF6-459A-A6B8-E90E5AB007DC}"/>
          </ac:spMkLst>
        </pc:spChg>
        <pc:spChg chg="replST">
          <ac:chgData name="Valentin GIANNINI" userId="282844b5-3252-425c-a805-4aeabb26e807" providerId="ADAL" clId="{6F65D988-6654-4D8F-8947-7EFB8B39E7D8}" dt="2021-10-04T14:51:00.331" v="587"/>
          <ac:spMkLst>
            <pc:docMk/>
            <pc:sldMk cId="1771016552" sldId="471"/>
            <ac:spMk id="11" creationId="{A31F2C4B-1B44-4AA8-A00E-8BCCCAA6A5E7}"/>
          </ac:spMkLst>
        </pc:spChg>
        <pc:spChg chg="replST">
          <ac:chgData name="Valentin GIANNINI" userId="282844b5-3252-425c-a805-4aeabb26e807" providerId="ADAL" clId="{6F65D988-6654-4D8F-8947-7EFB8B39E7D8}" dt="2021-10-04T14:51:00.337" v="588"/>
          <ac:spMkLst>
            <pc:docMk/>
            <pc:sldMk cId="1771016552" sldId="471"/>
            <ac:spMk id="16" creationId="{DE1C7538-0CA9-42E4-A9F4-E85013256979}"/>
          </ac:spMkLst>
        </pc:spChg>
        <pc:grpChg chg="replST">
          <ac:chgData name="Valentin GIANNINI" userId="282844b5-3252-425c-a805-4aeabb26e807" providerId="ADAL" clId="{6F65D988-6654-4D8F-8947-7EFB8B39E7D8}" dt="2021-10-04T14:51:00.343" v="589"/>
          <ac:grpSpMkLst>
            <pc:docMk/>
            <pc:sldMk cId="1771016552" sldId="471"/>
            <ac:grpSpMk id="2" creationId="{B7454A70-DA2B-4C1F-993D-30799D66494D}"/>
          </ac:grpSpMkLst>
        </pc:grpChg>
        <pc:picChg chg="replST">
          <ac:chgData name="Valentin GIANNINI" userId="282844b5-3252-425c-a805-4aeabb26e807" providerId="ADAL" clId="{6F65D988-6654-4D8F-8947-7EFB8B39E7D8}" dt="2021-10-04T14:51:00.308" v="583"/>
          <ac:picMkLst>
            <pc:docMk/>
            <pc:sldMk cId="1771016552" sldId="471"/>
            <ac:picMk id="5" creationId="{81C551B4-B9F6-4BCE-8B69-D2962FCF6268}"/>
          </ac:picMkLst>
        </pc:picChg>
      </pc:sldChg>
      <pc:sldChg chg="modSp mod">
        <pc:chgData name="Valentin GIANNINI" userId="282844b5-3252-425c-a805-4aeabb26e807" providerId="ADAL" clId="{6F65D988-6654-4D8F-8947-7EFB8B39E7D8}" dt="2021-10-04T14:50:59.630" v="502"/>
        <pc:sldMkLst>
          <pc:docMk/>
          <pc:sldMk cId="1324698650" sldId="472"/>
        </pc:sldMkLst>
        <pc:spChg chg="replST">
          <ac:chgData name="Valentin GIANNINI" userId="282844b5-3252-425c-a805-4aeabb26e807" providerId="ADAL" clId="{6F65D988-6654-4D8F-8947-7EFB8B39E7D8}" dt="2021-10-04T14:50:59.625" v="501"/>
          <ac:spMkLst>
            <pc:docMk/>
            <pc:sldMk cId="1324698650" sldId="472"/>
            <ac:spMk id="5" creationId="{8B42332C-E03B-4F53-B7CE-BC37999C8DC8}"/>
          </ac:spMkLst>
        </pc:spChg>
        <pc:spChg chg="replST">
          <ac:chgData name="Valentin GIANNINI" userId="282844b5-3252-425c-a805-4aeabb26e807" providerId="ADAL" clId="{6F65D988-6654-4D8F-8947-7EFB8B39E7D8}" dt="2021-10-04T14:50:59.612" v="499"/>
          <ac:spMkLst>
            <pc:docMk/>
            <pc:sldMk cId="1324698650" sldId="472"/>
            <ac:spMk id="14" creationId="{ADE24960-3DC1-4F40-8705-D09E167A0C53}"/>
          </ac:spMkLst>
        </pc:spChg>
        <pc:grpChg chg="replST">
          <ac:chgData name="Valentin GIANNINI" userId="282844b5-3252-425c-a805-4aeabb26e807" providerId="ADAL" clId="{6F65D988-6654-4D8F-8947-7EFB8B39E7D8}" dt="2021-10-04T14:50:59.630" v="502"/>
          <ac:grpSpMkLst>
            <pc:docMk/>
            <pc:sldMk cId="1324698650" sldId="472"/>
            <ac:grpSpMk id="6" creationId="{AA67DC3A-E2F6-4AFE-9AE0-E6246013628F}"/>
          </ac:grpSpMkLst>
        </pc:grpChg>
        <pc:graphicFrameChg chg="replST">
          <ac:chgData name="Valentin GIANNINI" userId="282844b5-3252-425c-a805-4aeabb26e807" providerId="ADAL" clId="{6F65D988-6654-4D8F-8947-7EFB8B39E7D8}" dt="2021-10-04T14:50:59.618" v="500"/>
          <ac:graphicFrameMkLst>
            <pc:docMk/>
            <pc:sldMk cId="1324698650" sldId="472"/>
            <ac:graphicFrameMk id="2" creationId="{6A0EECAD-3F4D-4D4D-85CD-0E1ABE4D71F3}"/>
          </ac:graphicFrameMkLst>
        </pc:graphicFrameChg>
      </pc:sldChg>
      <pc:sldChg chg="modSp mod">
        <pc:chgData name="Valentin GIANNINI" userId="282844b5-3252-425c-a805-4aeabb26e807" providerId="ADAL" clId="{6F65D988-6654-4D8F-8947-7EFB8B39E7D8}" dt="2021-10-04T14:51:00.543" v="620"/>
        <pc:sldMkLst>
          <pc:docMk/>
          <pc:sldMk cId="2088034320" sldId="473"/>
        </pc:sldMkLst>
        <pc:spChg chg="replST">
          <ac:chgData name="Valentin GIANNINI" userId="282844b5-3252-425c-a805-4aeabb26e807" providerId="ADAL" clId="{6F65D988-6654-4D8F-8947-7EFB8B39E7D8}" dt="2021-10-04T14:51:00.543" v="620"/>
          <ac:spMkLst>
            <pc:docMk/>
            <pc:sldMk cId="2088034320" sldId="473"/>
            <ac:spMk id="2" creationId="{2CEF1B7E-C78A-4E45-AF68-C88303977A3F}"/>
          </ac:spMkLst>
        </pc:spChg>
        <pc:spChg chg="replST">
          <ac:chgData name="Valentin GIANNINI" userId="282844b5-3252-425c-a805-4aeabb26e807" providerId="ADAL" clId="{6F65D988-6654-4D8F-8947-7EFB8B39E7D8}" dt="2021-10-04T14:51:00.536" v="619"/>
          <ac:spMkLst>
            <pc:docMk/>
            <pc:sldMk cId="2088034320" sldId="473"/>
            <ac:spMk id="14" creationId="{ADE24960-3DC1-4F40-8705-D09E167A0C53}"/>
          </ac:spMkLst>
        </pc:spChg>
      </pc:sldChg>
      <pc:sldChg chg="modSp mod">
        <pc:chgData name="Valentin GIANNINI" userId="282844b5-3252-425c-a805-4aeabb26e807" providerId="ADAL" clId="{6F65D988-6654-4D8F-8947-7EFB8B39E7D8}" dt="2021-10-04T14:51:00.557" v="622"/>
        <pc:sldMkLst>
          <pc:docMk/>
          <pc:sldMk cId="2796270212" sldId="474"/>
        </pc:sldMkLst>
        <pc:spChg chg="replST">
          <ac:chgData name="Valentin GIANNINI" userId="282844b5-3252-425c-a805-4aeabb26e807" providerId="ADAL" clId="{6F65D988-6654-4D8F-8947-7EFB8B39E7D8}" dt="2021-10-04T14:51:00.550" v="621"/>
          <ac:spMkLst>
            <pc:docMk/>
            <pc:sldMk cId="2796270212" sldId="474"/>
            <ac:spMk id="14" creationId="{ADE24960-3DC1-4F40-8705-D09E167A0C53}"/>
          </ac:spMkLst>
        </pc:spChg>
        <pc:spChg chg="replST">
          <ac:chgData name="Valentin GIANNINI" userId="282844b5-3252-425c-a805-4aeabb26e807" providerId="ADAL" clId="{6F65D988-6654-4D8F-8947-7EFB8B39E7D8}" dt="2021-10-04T14:51:00.557" v="622"/>
          <ac:spMkLst>
            <pc:docMk/>
            <pc:sldMk cId="2796270212" sldId="474"/>
            <ac:spMk id="15" creationId="{876AB4B5-129A-7F43-9340-1BAF49B9B459}"/>
          </ac:spMkLst>
        </pc:spChg>
      </pc:sldChg>
      <pc:sldChg chg="modSp mod">
        <pc:chgData name="Valentin GIANNINI" userId="282844b5-3252-425c-a805-4aeabb26e807" providerId="ADAL" clId="{6F65D988-6654-4D8F-8947-7EFB8B39E7D8}" dt="2021-10-04T14:50:59.281" v="460"/>
        <pc:sldMkLst>
          <pc:docMk/>
          <pc:sldMk cId="2598620155" sldId="475"/>
        </pc:sldMkLst>
        <pc:spChg chg="replST">
          <ac:chgData name="Valentin GIANNINI" userId="282844b5-3252-425c-a805-4aeabb26e807" providerId="ADAL" clId="{6F65D988-6654-4D8F-8947-7EFB8B39E7D8}" dt="2021-10-04T14:50:59.235" v="454"/>
          <ac:spMkLst>
            <pc:docMk/>
            <pc:sldMk cId="2598620155" sldId="475"/>
            <ac:spMk id="14" creationId="{ADE24960-3DC1-4F40-8705-D09E167A0C53}"/>
          </ac:spMkLst>
        </pc:spChg>
        <pc:spChg chg="replST">
          <ac:chgData name="Valentin GIANNINI" userId="282844b5-3252-425c-a805-4aeabb26e807" providerId="ADAL" clId="{6F65D988-6654-4D8F-8947-7EFB8B39E7D8}" dt="2021-10-04T14:50:59.244" v="455"/>
          <ac:spMkLst>
            <pc:docMk/>
            <pc:sldMk cId="2598620155" sldId="475"/>
            <ac:spMk id="15" creationId="{876AB4B5-129A-7F43-9340-1BAF49B9B459}"/>
          </ac:spMkLst>
        </pc:spChg>
        <pc:picChg chg="replST">
          <ac:chgData name="Valentin GIANNINI" userId="282844b5-3252-425c-a805-4aeabb26e807" providerId="ADAL" clId="{6F65D988-6654-4D8F-8947-7EFB8B39E7D8}" dt="2021-10-04T14:50:59.251" v="456"/>
          <ac:picMkLst>
            <pc:docMk/>
            <pc:sldMk cId="2598620155" sldId="475"/>
            <ac:picMk id="5" creationId="{4E0CF58D-C026-4E77-AA82-3DCE2B38C2AF}"/>
          </ac:picMkLst>
        </pc:picChg>
        <pc:picChg chg="replST">
          <ac:chgData name="Valentin GIANNINI" userId="282844b5-3252-425c-a805-4aeabb26e807" providerId="ADAL" clId="{6F65D988-6654-4D8F-8947-7EFB8B39E7D8}" dt="2021-10-04T14:50:59.265" v="458"/>
          <ac:picMkLst>
            <pc:docMk/>
            <pc:sldMk cId="2598620155" sldId="475"/>
            <ac:picMk id="9" creationId="{03D9A24B-EDA6-441F-A875-54389798E5B6}"/>
          </ac:picMkLst>
        </pc:picChg>
        <pc:picChg chg="replST">
          <ac:chgData name="Valentin GIANNINI" userId="282844b5-3252-425c-a805-4aeabb26e807" providerId="ADAL" clId="{6F65D988-6654-4D8F-8947-7EFB8B39E7D8}" dt="2021-10-04T14:50:59.274" v="459"/>
          <ac:picMkLst>
            <pc:docMk/>
            <pc:sldMk cId="2598620155" sldId="475"/>
            <ac:picMk id="11" creationId="{5765D9B4-21A2-49EB-BF1F-8BC74861B8B7}"/>
          </ac:picMkLst>
        </pc:picChg>
        <pc:picChg chg="replST">
          <ac:chgData name="Valentin GIANNINI" userId="282844b5-3252-425c-a805-4aeabb26e807" providerId="ADAL" clId="{6F65D988-6654-4D8F-8947-7EFB8B39E7D8}" dt="2021-10-04T14:50:59.281" v="460"/>
          <ac:picMkLst>
            <pc:docMk/>
            <pc:sldMk cId="2598620155" sldId="475"/>
            <ac:picMk id="1026" creationId="{3E02987A-FA40-4F3C-84D4-67B2D243C4A3}"/>
          </ac:picMkLst>
        </pc:picChg>
        <pc:picChg chg="replST">
          <ac:chgData name="Valentin GIANNINI" userId="282844b5-3252-425c-a805-4aeabb26e807" providerId="ADAL" clId="{6F65D988-6654-4D8F-8947-7EFB8B39E7D8}" dt="2021-10-04T14:50:59.258" v="457"/>
          <ac:picMkLst>
            <pc:docMk/>
            <pc:sldMk cId="2598620155" sldId="475"/>
            <ac:picMk id="1028" creationId="{633CDE16-0B82-4843-B045-A895D7120022}"/>
          </ac:picMkLst>
        </pc:picChg>
      </pc:sldChg>
      <pc:sldChg chg="modSp mod">
        <pc:chgData name="Valentin GIANNINI" userId="282844b5-3252-425c-a805-4aeabb26e807" providerId="ADAL" clId="{6F65D988-6654-4D8F-8947-7EFB8B39E7D8}" dt="2021-10-04T14:50:59.413" v="475"/>
        <pc:sldMkLst>
          <pc:docMk/>
          <pc:sldMk cId="3017267742" sldId="476"/>
        </pc:sldMkLst>
        <pc:spChg chg="replST">
          <ac:chgData name="Valentin GIANNINI" userId="282844b5-3252-425c-a805-4aeabb26e807" providerId="ADAL" clId="{6F65D988-6654-4D8F-8947-7EFB8B39E7D8}" dt="2021-10-04T14:50:59.347" v="468"/>
          <ac:spMkLst>
            <pc:docMk/>
            <pc:sldMk cId="3017267742" sldId="476"/>
            <ac:spMk id="14" creationId="{ADE24960-3DC1-4F40-8705-D09E167A0C53}"/>
          </ac:spMkLst>
        </pc:spChg>
        <pc:spChg chg="replST">
          <ac:chgData name="Valentin GIANNINI" userId="282844b5-3252-425c-a805-4aeabb26e807" providerId="ADAL" clId="{6F65D988-6654-4D8F-8947-7EFB8B39E7D8}" dt="2021-10-04T14:50:59.357" v="469"/>
          <ac:spMkLst>
            <pc:docMk/>
            <pc:sldMk cId="3017267742" sldId="476"/>
            <ac:spMk id="15" creationId="{876AB4B5-129A-7F43-9340-1BAF49B9B459}"/>
          </ac:spMkLst>
        </pc:spChg>
        <pc:grpChg chg="replST">
          <ac:chgData name="Valentin GIANNINI" userId="282844b5-3252-425c-a805-4aeabb26e807" providerId="ADAL" clId="{6F65D988-6654-4D8F-8947-7EFB8B39E7D8}" dt="2021-10-04T14:50:59.372" v="471"/>
          <ac:grpSpMkLst>
            <pc:docMk/>
            <pc:sldMk cId="3017267742" sldId="476"/>
            <ac:grpSpMk id="19" creationId="{4388EE0C-DB56-4D22-B1D7-976D334D6603}"/>
          </ac:grpSpMkLst>
        </pc:grpChg>
        <pc:grpChg chg="replST">
          <ac:chgData name="Valentin GIANNINI" userId="282844b5-3252-425c-a805-4aeabb26e807" providerId="ADAL" clId="{6F65D988-6654-4D8F-8947-7EFB8B39E7D8}" dt="2021-10-04T14:50:59.385" v="473"/>
          <ac:grpSpMkLst>
            <pc:docMk/>
            <pc:sldMk cId="3017267742" sldId="476"/>
            <ac:grpSpMk id="23" creationId="{E5CA3640-2464-4E0A-AD9A-0B125805E177}"/>
          </ac:grpSpMkLst>
        </pc:grpChg>
        <pc:picChg chg="replST">
          <ac:chgData name="Valentin GIANNINI" userId="282844b5-3252-425c-a805-4aeabb26e807" providerId="ADAL" clId="{6F65D988-6654-4D8F-8947-7EFB8B39E7D8}" dt="2021-10-04T14:50:59.379" v="472"/>
          <ac:picMkLst>
            <pc:docMk/>
            <pc:sldMk cId="3017267742" sldId="476"/>
            <ac:picMk id="6" creationId="{EA0A59F9-8AA6-4CC4-B02E-A0B422956A0D}"/>
          </ac:picMkLst>
        </pc:picChg>
        <pc:picChg chg="replST">
          <ac:chgData name="Valentin GIANNINI" userId="282844b5-3252-425c-a805-4aeabb26e807" providerId="ADAL" clId="{6F65D988-6654-4D8F-8947-7EFB8B39E7D8}" dt="2021-10-04T14:50:59.401" v="474"/>
          <ac:picMkLst>
            <pc:docMk/>
            <pc:sldMk cId="3017267742" sldId="476"/>
            <ac:picMk id="7" creationId="{CBF589C0-CA98-46FD-91EF-1238278F523B}"/>
          </ac:picMkLst>
        </pc:picChg>
        <pc:picChg chg="replST">
          <ac:chgData name="Valentin GIANNINI" userId="282844b5-3252-425c-a805-4aeabb26e807" providerId="ADAL" clId="{6F65D988-6654-4D8F-8947-7EFB8B39E7D8}" dt="2021-10-04T14:50:59.413" v="475"/>
          <ac:picMkLst>
            <pc:docMk/>
            <pc:sldMk cId="3017267742" sldId="476"/>
            <ac:picMk id="10" creationId="{2B4D188F-E22E-461E-A424-A7553B1E949F}"/>
          </ac:picMkLst>
        </pc:picChg>
        <pc:picChg chg="replST">
          <ac:chgData name="Valentin GIANNINI" userId="282844b5-3252-425c-a805-4aeabb26e807" providerId="ADAL" clId="{6F65D988-6654-4D8F-8947-7EFB8B39E7D8}" dt="2021-10-04T14:50:59.366" v="470"/>
          <ac:picMkLst>
            <pc:docMk/>
            <pc:sldMk cId="3017267742" sldId="476"/>
            <ac:picMk id="18" creationId="{37C7E8E5-59AF-4DD6-80CE-256DD5DD470A}"/>
          </ac:picMkLst>
        </pc:picChg>
      </pc:sldChg>
      <pc:sldChg chg="modSp mod">
        <pc:chgData name="Valentin GIANNINI" userId="282844b5-3252-425c-a805-4aeabb26e807" providerId="ADAL" clId="{6F65D988-6654-4D8F-8947-7EFB8B39E7D8}" dt="2021-10-04T14:51:00.301" v="582"/>
        <pc:sldMkLst>
          <pc:docMk/>
          <pc:sldMk cId="253284112" sldId="478"/>
        </pc:sldMkLst>
        <pc:spChg chg="replST">
          <ac:chgData name="Valentin GIANNINI" userId="282844b5-3252-425c-a805-4aeabb26e807" providerId="ADAL" clId="{6F65D988-6654-4D8F-8947-7EFB8B39E7D8}" dt="2021-10-04T14:51:00.296" v="581"/>
          <ac:spMkLst>
            <pc:docMk/>
            <pc:sldMk cId="253284112" sldId="478"/>
            <ac:spMk id="2" creationId="{23258FC2-8438-4CBA-AD6E-45B30001F109}"/>
          </ac:spMkLst>
        </pc:spChg>
        <pc:picChg chg="replST">
          <ac:chgData name="Valentin GIANNINI" userId="282844b5-3252-425c-a805-4aeabb26e807" providerId="ADAL" clId="{6F65D988-6654-4D8F-8947-7EFB8B39E7D8}" dt="2021-10-04T14:51:00.301" v="582"/>
          <ac:picMkLst>
            <pc:docMk/>
            <pc:sldMk cId="253284112" sldId="478"/>
            <ac:picMk id="10" creationId="{0EDA1C90-9AD9-48F0-AFC6-75A4B41AFA33}"/>
          </ac:picMkLst>
        </pc:picChg>
      </pc:sldChg>
      <pc:sldChg chg="modSp mod">
        <pc:chgData name="Valentin GIANNINI" userId="282844b5-3252-425c-a805-4aeabb26e807" providerId="ADAL" clId="{6F65D988-6654-4D8F-8947-7EFB8B39E7D8}" dt="2021-10-04T14:50:59.463" v="480"/>
        <pc:sldMkLst>
          <pc:docMk/>
          <pc:sldMk cId="1585668421" sldId="479"/>
        </pc:sldMkLst>
        <pc:spChg chg="replST">
          <ac:chgData name="Valentin GIANNINI" userId="282844b5-3252-425c-a805-4aeabb26e807" providerId="ADAL" clId="{6F65D988-6654-4D8F-8947-7EFB8B39E7D8}" dt="2021-10-04T14:50:59.426" v="476"/>
          <ac:spMkLst>
            <pc:docMk/>
            <pc:sldMk cId="1585668421" sldId="479"/>
            <ac:spMk id="14" creationId="{ADE24960-3DC1-4F40-8705-D09E167A0C53}"/>
          </ac:spMkLst>
        </pc:spChg>
        <pc:spChg chg="replST">
          <ac:chgData name="Valentin GIANNINI" userId="282844b5-3252-425c-a805-4aeabb26e807" providerId="ADAL" clId="{6F65D988-6654-4D8F-8947-7EFB8B39E7D8}" dt="2021-10-04T14:50:59.431" v="477"/>
          <ac:spMkLst>
            <pc:docMk/>
            <pc:sldMk cId="1585668421" sldId="479"/>
            <ac:spMk id="15" creationId="{876AB4B5-129A-7F43-9340-1BAF49B9B459}"/>
          </ac:spMkLst>
        </pc:spChg>
        <pc:grpChg chg="replST">
          <ac:chgData name="Valentin GIANNINI" userId="282844b5-3252-425c-a805-4aeabb26e807" providerId="ADAL" clId="{6F65D988-6654-4D8F-8947-7EFB8B39E7D8}" dt="2021-10-04T14:50:59.439" v="478"/>
          <ac:grpSpMkLst>
            <pc:docMk/>
            <pc:sldMk cId="1585668421" sldId="479"/>
            <ac:grpSpMk id="2" creationId="{50010F97-A9CE-4192-8CE3-DAB1D6F1A95E}"/>
          </ac:grpSpMkLst>
        </pc:grpChg>
        <pc:grpChg chg="replST">
          <ac:chgData name="Valentin GIANNINI" userId="282844b5-3252-425c-a805-4aeabb26e807" providerId="ADAL" clId="{6F65D988-6654-4D8F-8947-7EFB8B39E7D8}" dt="2021-10-04T14:50:59.463" v="480"/>
          <ac:grpSpMkLst>
            <pc:docMk/>
            <pc:sldMk cId="1585668421" sldId="479"/>
            <ac:grpSpMk id="3" creationId="{50629D13-F737-49DC-8328-703D66CB4AA5}"/>
          </ac:grpSpMkLst>
        </pc:grpChg>
        <pc:grpChg chg="replST">
          <ac:chgData name="Valentin GIANNINI" userId="282844b5-3252-425c-a805-4aeabb26e807" providerId="ADAL" clId="{6F65D988-6654-4D8F-8947-7EFB8B39E7D8}" dt="2021-10-04T14:50:59.449" v="479"/>
          <ac:grpSpMkLst>
            <pc:docMk/>
            <pc:sldMk cId="1585668421" sldId="479"/>
            <ac:grpSpMk id="4" creationId="{FE85AACC-BFA7-459D-AC17-3CF963683473}"/>
          </ac:grpSpMkLst>
        </pc:grpChg>
      </pc:sldChg>
      <pc:sldChg chg="modSp mod">
        <pc:chgData name="Valentin GIANNINI" userId="282844b5-3252-425c-a805-4aeabb26e807" providerId="ADAL" clId="{6F65D988-6654-4D8F-8947-7EFB8B39E7D8}" dt="2021-10-04T14:51:00.289" v="580"/>
        <pc:sldMkLst>
          <pc:docMk/>
          <pc:sldMk cId="3534197887" sldId="480"/>
        </pc:sldMkLst>
        <pc:spChg chg="replST">
          <ac:chgData name="Valentin GIANNINI" userId="282844b5-3252-425c-a805-4aeabb26e807" providerId="ADAL" clId="{6F65D988-6654-4D8F-8947-7EFB8B39E7D8}" dt="2021-10-04T14:51:00.283" v="579"/>
          <ac:spMkLst>
            <pc:docMk/>
            <pc:sldMk cId="3534197887" sldId="480"/>
            <ac:spMk id="2" creationId="{23258FC2-8438-4CBA-AD6E-45B30001F109}"/>
          </ac:spMkLst>
        </pc:spChg>
        <pc:picChg chg="replST">
          <ac:chgData name="Valentin GIANNINI" userId="282844b5-3252-425c-a805-4aeabb26e807" providerId="ADAL" clId="{6F65D988-6654-4D8F-8947-7EFB8B39E7D8}" dt="2021-10-04T14:51:00.289" v="580"/>
          <ac:picMkLst>
            <pc:docMk/>
            <pc:sldMk cId="3534197887" sldId="480"/>
            <ac:picMk id="8" creationId="{2F792D82-EB44-4253-96ED-91D6E31DB0B8}"/>
          </ac:picMkLst>
        </pc:picChg>
      </pc:sldChg>
      <pc:sldChg chg="modSp mod">
        <pc:chgData name="Valentin GIANNINI" userId="282844b5-3252-425c-a805-4aeabb26e807" providerId="ADAL" clId="{6F65D988-6654-4D8F-8947-7EFB8B39E7D8}" dt="2021-10-04T14:50:59.333" v="467"/>
        <pc:sldMkLst>
          <pc:docMk/>
          <pc:sldMk cId="19082615" sldId="481"/>
        </pc:sldMkLst>
        <pc:spChg chg="replST">
          <ac:chgData name="Valentin GIANNINI" userId="282844b5-3252-425c-a805-4aeabb26e807" providerId="ADAL" clId="{6F65D988-6654-4D8F-8947-7EFB8B39E7D8}" dt="2021-10-04T14:50:59.295" v="461"/>
          <ac:spMkLst>
            <pc:docMk/>
            <pc:sldMk cId="19082615" sldId="481"/>
            <ac:spMk id="14" creationId="{ADE24960-3DC1-4F40-8705-D09E167A0C53}"/>
          </ac:spMkLst>
        </pc:spChg>
        <pc:picChg chg="replST">
          <ac:chgData name="Valentin GIANNINI" userId="282844b5-3252-425c-a805-4aeabb26e807" providerId="ADAL" clId="{6F65D988-6654-4D8F-8947-7EFB8B39E7D8}" dt="2021-10-04T14:50:59.320" v="465"/>
          <ac:picMkLst>
            <pc:docMk/>
            <pc:sldMk cId="19082615" sldId="481"/>
            <ac:picMk id="3" creationId="{FBA55EC2-622B-44A8-860E-4E262BE500CF}"/>
          </ac:picMkLst>
        </pc:picChg>
        <pc:picChg chg="replST">
          <ac:chgData name="Valentin GIANNINI" userId="282844b5-3252-425c-a805-4aeabb26e807" providerId="ADAL" clId="{6F65D988-6654-4D8F-8947-7EFB8B39E7D8}" dt="2021-10-04T14:50:59.326" v="466"/>
          <ac:picMkLst>
            <pc:docMk/>
            <pc:sldMk cId="19082615" sldId="481"/>
            <ac:picMk id="5" creationId="{1BFCAF98-AF5D-4D9E-A111-A56A6A8E01E5}"/>
          </ac:picMkLst>
        </pc:picChg>
        <pc:picChg chg="replST">
          <ac:chgData name="Valentin GIANNINI" userId="282844b5-3252-425c-a805-4aeabb26e807" providerId="ADAL" clId="{6F65D988-6654-4D8F-8947-7EFB8B39E7D8}" dt="2021-10-04T14:50:59.333" v="467"/>
          <ac:picMkLst>
            <pc:docMk/>
            <pc:sldMk cId="19082615" sldId="481"/>
            <ac:picMk id="7" creationId="{638EC782-FD2B-4059-9E75-6903AC958E51}"/>
          </ac:picMkLst>
        </pc:picChg>
        <pc:picChg chg="replST">
          <ac:chgData name="Valentin GIANNINI" userId="282844b5-3252-425c-a805-4aeabb26e807" providerId="ADAL" clId="{6F65D988-6654-4D8F-8947-7EFB8B39E7D8}" dt="2021-10-04T14:50:59.301" v="462"/>
          <ac:picMkLst>
            <pc:docMk/>
            <pc:sldMk cId="19082615" sldId="481"/>
            <ac:picMk id="18" creationId="{E38C8A1C-4224-4AAD-849A-C350470AD31A}"/>
          </ac:picMkLst>
        </pc:picChg>
        <pc:picChg chg="replST">
          <ac:chgData name="Valentin GIANNINI" userId="282844b5-3252-425c-a805-4aeabb26e807" providerId="ADAL" clId="{6F65D988-6654-4D8F-8947-7EFB8B39E7D8}" dt="2021-10-04T14:50:59.307" v="463"/>
          <ac:picMkLst>
            <pc:docMk/>
            <pc:sldMk cId="19082615" sldId="481"/>
            <ac:picMk id="19" creationId="{0CCF8334-F5AA-4599-AE90-F4FCB54C67E9}"/>
          </ac:picMkLst>
        </pc:picChg>
        <pc:picChg chg="replST">
          <ac:chgData name="Valentin GIANNINI" userId="282844b5-3252-425c-a805-4aeabb26e807" providerId="ADAL" clId="{6F65D988-6654-4D8F-8947-7EFB8B39E7D8}" dt="2021-10-04T14:50:59.313" v="464"/>
          <ac:picMkLst>
            <pc:docMk/>
            <pc:sldMk cId="19082615" sldId="481"/>
            <ac:picMk id="20" creationId="{1C700B1C-0591-486E-86D6-6A166B3F0D0C}"/>
          </ac:picMkLst>
        </pc:picChg>
      </pc:sldChg>
      <pc:sldChg chg="modSp mod">
        <pc:chgData name="Valentin GIANNINI" userId="282844b5-3252-425c-a805-4aeabb26e807" providerId="ADAL" clId="{6F65D988-6654-4D8F-8947-7EFB8B39E7D8}" dt="2021-10-04T14:50:59.795" v="524"/>
        <pc:sldMkLst>
          <pc:docMk/>
          <pc:sldMk cId="2151171373" sldId="482"/>
        </pc:sldMkLst>
        <pc:spChg chg="replST">
          <ac:chgData name="Valentin GIANNINI" userId="282844b5-3252-425c-a805-4aeabb26e807" providerId="ADAL" clId="{6F65D988-6654-4D8F-8947-7EFB8B39E7D8}" dt="2021-10-04T14:50:59.763" v="520"/>
          <ac:spMkLst>
            <pc:docMk/>
            <pc:sldMk cId="2151171373" sldId="482"/>
            <ac:spMk id="3" creationId="{FFFC21E4-FEED-43F3-BACC-8B930360BAFE}"/>
          </ac:spMkLst>
        </pc:spChg>
        <pc:spChg chg="replST">
          <ac:chgData name="Valentin GIANNINI" userId="282844b5-3252-425c-a805-4aeabb26e807" providerId="ADAL" clId="{6F65D988-6654-4D8F-8947-7EFB8B39E7D8}" dt="2021-10-04T14:50:59.734" v="517"/>
          <ac:spMkLst>
            <pc:docMk/>
            <pc:sldMk cId="2151171373" sldId="482"/>
            <ac:spMk id="5" creationId="{658C159A-EE7B-4BB2-9BF7-6617C4856E45}"/>
          </ac:spMkLst>
        </pc:spChg>
        <pc:spChg chg="replST">
          <ac:chgData name="Valentin GIANNINI" userId="282844b5-3252-425c-a805-4aeabb26e807" providerId="ADAL" clId="{6F65D988-6654-4D8F-8947-7EFB8B39E7D8}" dt="2021-10-04T14:50:59.754" v="519"/>
          <ac:spMkLst>
            <pc:docMk/>
            <pc:sldMk cId="2151171373" sldId="482"/>
            <ac:spMk id="7" creationId="{2CF08FB8-317E-4C69-B878-75D6A435D8B8}"/>
          </ac:spMkLst>
        </pc:spChg>
        <pc:spChg chg="replST">
          <ac:chgData name="Valentin GIANNINI" userId="282844b5-3252-425c-a805-4aeabb26e807" providerId="ADAL" clId="{6F65D988-6654-4D8F-8947-7EFB8B39E7D8}" dt="2021-10-04T14:50:59.772" v="521"/>
          <ac:spMkLst>
            <pc:docMk/>
            <pc:sldMk cId="2151171373" sldId="482"/>
            <ac:spMk id="9" creationId="{846075AD-6CF4-4234-BBB7-4800A5B7CC2D}"/>
          </ac:spMkLst>
        </pc:spChg>
        <pc:spChg chg="replST">
          <ac:chgData name="Valentin GIANNINI" userId="282844b5-3252-425c-a805-4aeabb26e807" providerId="ADAL" clId="{6F65D988-6654-4D8F-8947-7EFB8B39E7D8}" dt="2021-10-04T14:50:59.781" v="522"/>
          <ac:spMkLst>
            <pc:docMk/>
            <pc:sldMk cId="2151171373" sldId="482"/>
            <ac:spMk id="10" creationId="{1DAE2A09-69F7-4FD1-A579-71610BD98F75}"/>
          </ac:spMkLst>
        </pc:spChg>
        <pc:spChg chg="replST">
          <ac:chgData name="Valentin GIANNINI" userId="282844b5-3252-425c-a805-4aeabb26e807" providerId="ADAL" clId="{6F65D988-6654-4D8F-8947-7EFB8B39E7D8}" dt="2021-10-04T14:50:59.789" v="523"/>
          <ac:spMkLst>
            <pc:docMk/>
            <pc:sldMk cId="2151171373" sldId="482"/>
            <ac:spMk id="11" creationId="{44C8D9EA-84BD-4991-B50D-61D9F663952D}"/>
          </ac:spMkLst>
        </pc:spChg>
        <pc:spChg chg="replST">
          <ac:chgData name="Valentin GIANNINI" userId="282844b5-3252-425c-a805-4aeabb26e807" providerId="ADAL" clId="{6F65D988-6654-4D8F-8947-7EFB8B39E7D8}" dt="2021-10-04T14:50:59.795" v="524"/>
          <ac:spMkLst>
            <pc:docMk/>
            <pc:sldMk cId="2151171373" sldId="482"/>
            <ac:spMk id="13" creationId="{E13316B6-FAC6-4AB5-AEBB-8A00CB433CCE}"/>
          </ac:spMkLst>
        </pc:spChg>
        <pc:picChg chg="replST">
          <ac:chgData name="Valentin GIANNINI" userId="282844b5-3252-425c-a805-4aeabb26e807" providerId="ADAL" clId="{6F65D988-6654-4D8F-8947-7EFB8B39E7D8}" dt="2021-10-04T14:50:59.746" v="518"/>
          <ac:picMkLst>
            <pc:docMk/>
            <pc:sldMk cId="2151171373" sldId="482"/>
            <ac:picMk id="6" creationId="{02BEEC16-0005-4918-AA3C-922FBC192760}"/>
          </ac:picMkLst>
        </pc:picChg>
      </pc:sldChg>
      <pc:sldChg chg="modSp mod">
        <pc:chgData name="Valentin GIANNINI" userId="282844b5-3252-425c-a805-4aeabb26e807" providerId="ADAL" clId="{6F65D988-6654-4D8F-8947-7EFB8B39E7D8}" dt="2021-10-04T14:50:59.846" v="529"/>
        <pc:sldMkLst>
          <pc:docMk/>
          <pc:sldMk cId="4186316412" sldId="483"/>
        </pc:sldMkLst>
        <pc:spChg chg="replST">
          <ac:chgData name="Valentin GIANNINI" userId="282844b5-3252-425c-a805-4aeabb26e807" providerId="ADAL" clId="{6F65D988-6654-4D8F-8947-7EFB8B39E7D8}" dt="2021-10-04T14:50:59.812" v="525"/>
          <ac:spMkLst>
            <pc:docMk/>
            <pc:sldMk cId="4186316412" sldId="483"/>
            <ac:spMk id="12" creationId="{B8A604F6-D1F6-442F-8E82-59761BEE9B1B}"/>
          </ac:spMkLst>
        </pc:spChg>
        <pc:spChg chg="replST">
          <ac:chgData name="Valentin GIANNINI" userId="282844b5-3252-425c-a805-4aeabb26e807" providerId="ADAL" clId="{6F65D988-6654-4D8F-8947-7EFB8B39E7D8}" dt="2021-10-04T14:50:59.836" v="528"/>
          <ac:spMkLst>
            <pc:docMk/>
            <pc:sldMk cId="4186316412" sldId="483"/>
            <ac:spMk id="15" creationId="{BAD1E4A2-3D41-4B3F-869A-09EDD6598996}"/>
          </ac:spMkLst>
        </pc:spChg>
        <pc:picChg chg="replST">
          <ac:chgData name="Valentin GIANNINI" userId="282844b5-3252-425c-a805-4aeabb26e807" providerId="ADAL" clId="{6F65D988-6654-4D8F-8947-7EFB8B39E7D8}" dt="2021-10-04T14:50:59.846" v="529"/>
          <ac:picMkLst>
            <pc:docMk/>
            <pc:sldMk cId="4186316412" sldId="483"/>
            <ac:picMk id="3" creationId="{0EB6A34E-CC77-4D0E-86A5-23E85FF50ACD}"/>
          </ac:picMkLst>
        </pc:picChg>
        <pc:picChg chg="replST">
          <ac:chgData name="Valentin GIANNINI" userId="282844b5-3252-425c-a805-4aeabb26e807" providerId="ADAL" clId="{6F65D988-6654-4D8F-8947-7EFB8B39E7D8}" dt="2021-10-04T14:50:59.818" v="526"/>
          <ac:picMkLst>
            <pc:docMk/>
            <pc:sldMk cId="4186316412" sldId="483"/>
            <ac:picMk id="13" creationId="{54776DE7-2DAB-48CE-91DF-21713D508CFE}"/>
          </ac:picMkLst>
        </pc:picChg>
        <pc:picChg chg="replST">
          <ac:chgData name="Valentin GIANNINI" userId="282844b5-3252-425c-a805-4aeabb26e807" providerId="ADAL" clId="{6F65D988-6654-4D8F-8947-7EFB8B39E7D8}" dt="2021-10-04T14:50:59.826" v="527"/>
          <ac:picMkLst>
            <pc:docMk/>
            <pc:sldMk cId="4186316412" sldId="483"/>
            <ac:picMk id="14" creationId="{AD19025F-3E1C-41A8-967B-3BD1F9E97132}"/>
          </ac:picMkLst>
        </pc:picChg>
      </pc:sldChg>
      <pc:sldChg chg="modSp mod">
        <pc:chgData name="Valentin GIANNINI" userId="282844b5-3252-425c-a805-4aeabb26e807" providerId="ADAL" clId="{6F65D988-6654-4D8F-8947-7EFB8B39E7D8}" dt="2021-10-04T14:50:59.896" v="533"/>
        <pc:sldMkLst>
          <pc:docMk/>
          <pc:sldMk cId="4035647775" sldId="484"/>
        </pc:sldMkLst>
        <pc:spChg chg="replST">
          <ac:chgData name="Valentin GIANNINI" userId="282844b5-3252-425c-a805-4aeabb26e807" providerId="ADAL" clId="{6F65D988-6654-4D8F-8947-7EFB8B39E7D8}" dt="2021-10-04T14:50:59.896" v="533"/>
          <ac:spMkLst>
            <pc:docMk/>
            <pc:sldMk cId="4035647775" sldId="484"/>
            <ac:spMk id="10" creationId="{2634D217-B513-4A39-9774-DC46E9123B39}"/>
          </ac:spMkLst>
        </pc:spChg>
        <pc:spChg chg="replST">
          <ac:chgData name="Valentin GIANNINI" userId="282844b5-3252-425c-a805-4aeabb26e807" providerId="ADAL" clId="{6F65D988-6654-4D8F-8947-7EFB8B39E7D8}" dt="2021-10-04T14:50:59.864" v="530"/>
          <ac:spMkLst>
            <pc:docMk/>
            <pc:sldMk cId="4035647775" sldId="484"/>
            <ac:spMk id="12" creationId="{B8A604F6-D1F6-442F-8E82-59761BEE9B1B}"/>
          </ac:spMkLst>
        </pc:spChg>
        <pc:graphicFrameChg chg="replST">
          <ac:chgData name="Valentin GIANNINI" userId="282844b5-3252-425c-a805-4aeabb26e807" providerId="ADAL" clId="{6F65D988-6654-4D8F-8947-7EFB8B39E7D8}" dt="2021-10-04T14:50:59.884" v="532"/>
          <ac:graphicFrameMkLst>
            <pc:docMk/>
            <pc:sldMk cId="4035647775" sldId="484"/>
            <ac:graphicFrameMk id="9" creationId="{3317BDEE-D6A1-47B0-969E-5D8434E8F277}"/>
          </ac:graphicFrameMkLst>
        </pc:graphicFrameChg>
        <pc:picChg chg="replST">
          <ac:chgData name="Valentin GIANNINI" userId="282844b5-3252-425c-a805-4aeabb26e807" providerId="ADAL" clId="{6F65D988-6654-4D8F-8947-7EFB8B39E7D8}" dt="2021-10-04T14:50:59.874" v="531"/>
          <ac:picMkLst>
            <pc:docMk/>
            <pc:sldMk cId="4035647775" sldId="484"/>
            <ac:picMk id="7" creationId="{293BE0C4-B5B6-4CAF-A247-23E530D22EAE}"/>
          </ac:picMkLst>
        </pc:picChg>
      </pc:sldChg>
      <pc:sldChg chg="modSp mod">
        <pc:chgData name="Valentin GIANNINI" userId="282844b5-3252-425c-a805-4aeabb26e807" providerId="ADAL" clId="{6F65D988-6654-4D8F-8947-7EFB8B39E7D8}" dt="2021-10-04T14:51:00.005" v="542"/>
        <pc:sldMkLst>
          <pc:docMk/>
          <pc:sldMk cId="2842156029" sldId="485"/>
        </pc:sldMkLst>
        <pc:spChg chg="replST">
          <ac:chgData name="Valentin GIANNINI" userId="282844b5-3252-425c-a805-4aeabb26e807" providerId="ADAL" clId="{6F65D988-6654-4D8F-8947-7EFB8B39E7D8}" dt="2021-10-04T14:50:59.911" v="534"/>
          <ac:spMkLst>
            <pc:docMk/>
            <pc:sldMk cId="2842156029" sldId="485"/>
            <ac:spMk id="5" creationId="{C61B4995-4EFA-4848-8511-6E94B58DCA33}"/>
          </ac:spMkLst>
        </pc:spChg>
        <pc:spChg chg="replST">
          <ac:chgData name="Valentin GIANNINI" userId="282844b5-3252-425c-a805-4aeabb26e807" providerId="ADAL" clId="{6F65D988-6654-4D8F-8947-7EFB8B39E7D8}" dt="2021-10-04T14:50:59.924" v="535"/>
          <ac:spMkLst>
            <pc:docMk/>
            <pc:sldMk cId="2842156029" sldId="485"/>
            <ac:spMk id="6" creationId="{EDB783B3-E08F-484D-AC4A-B9E110E5F375}"/>
          </ac:spMkLst>
        </pc:spChg>
        <pc:spChg chg="replST">
          <ac:chgData name="Valentin GIANNINI" userId="282844b5-3252-425c-a805-4aeabb26e807" providerId="ADAL" clId="{6F65D988-6654-4D8F-8947-7EFB8B39E7D8}" dt="2021-10-04T14:50:59.943" v="537"/>
          <ac:spMkLst>
            <pc:docMk/>
            <pc:sldMk cId="2842156029" sldId="485"/>
            <ac:spMk id="10" creationId="{BC5DA6FE-0597-4902-B9E1-445FE42F1D8A}"/>
          </ac:spMkLst>
        </pc:spChg>
        <pc:spChg chg="replST">
          <ac:chgData name="Valentin GIANNINI" userId="282844b5-3252-425c-a805-4aeabb26e807" providerId="ADAL" clId="{6F65D988-6654-4D8F-8947-7EFB8B39E7D8}" dt="2021-10-04T14:50:59.952" v="538"/>
          <ac:spMkLst>
            <pc:docMk/>
            <pc:sldMk cId="2842156029" sldId="485"/>
            <ac:spMk id="11" creationId="{86201478-B48D-47AE-886E-A70F6DBEF4DB}"/>
          </ac:spMkLst>
        </pc:spChg>
        <pc:spChg chg="replST">
          <ac:chgData name="Valentin GIANNINI" userId="282844b5-3252-425c-a805-4aeabb26e807" providerId="ADAL" clId="{6F65D988-6654-4D8F-8947-7EFB8B39E7D8}" dt="2021-10-04T14:50:59.963" v="539"/>
          <ac:spMkLst>
            <pc:docMk/>
            <pc:sldMk cId="2842156029" sldId="485"/>
            <ac:spMk id="13" creationId="{DF0526B2-F6B5-41BC-9525-D4BDDCE7B418}"/>
          </ac:spMkLst>
        </pc:spChg>
        <pc:spChg chg="replST">
          <ac:chgData name="Valentin GIANNINI" userId="282844b5-3252-425c-a805-4aeabb26e807" providerId="ADAL" clId="{6F65D988-6654-4D8F-8947-7EFB8B39E7D8}" dt="2021-10-04T14:50:59.975" v="540"/>
          <ac:spMkLst>
            <pc:docMk/>
            <pc:sldMk cId="2842156029" sldId="485"/>
            <ac:spMk id="14" creationId="{D07898DA-39E2-4C50-9DFF-CDD8BD1B67AD}"/>
          </ac:spMkLst>
        </pc:spChg>
        <pc:spChg chg="replST">
          <ac:chgData name="Valentin GIANNINI" userId="282844b5-3252-425c-a805-4aeabb26e807" providerId="ADAL" clId="{6F65D988-6654-4D8F-8947-7EFB8B39E7D8}" dt="2021-10-04T14:50:59.997" v="541"/>
          <ac:spMkLst>
            <pc:docMk/>
            <pc:sldMk cId="2842156029" sldId="485"/>
            <ac:spMk id="15" creationId="{18F2D2E9-76DA-4249-94E9-4510BE80904B}"/>
          </ac:spMkLst>
        </pc:spChg>
        <pc:spChg chg="replST">
          <ac:chgData name="Valentin GIANNINI" userId="282844b5-3252-425c-a805-4aeabb26e807" providerId="ADAL" clId="{6F65D988-6654-4D8F-8947-7EFB8B39E7D8}" dt="2021-10-04T14:51:00.005" v="542"/>
          <ac:spMkLst>
            <pc:docMk/>
            <pc:sldMk cId="2842156029" sldId="485"/>
            <ac:spMk id="16" creationId="{EA74D4BD-A154-47F6-BF0C-622DE0645492}"/>
          </ac:spMkLst>
        </pc:spChg>
        <pc:picChg chg="replST">
          <ac:chgData name="Valentin GIANNINI" userId="282844b5-3252-425c-a805-4aeabb26e807" providerId="ADAL" clId="{6F65D988-6654-4D8F-8947-7EFB8B39E7D8}" dt="2021-10-04T14:50:59.934" v="536"/>
          <ac:picMkLst>
            <pc:docMk/>
            <pc:sldMk cId="2842156029" sldId="485"/>
            <ac:picMk id="8" creationId="{EC1D87E2-C519-47A7-8865-FA02DF22315F}"/>
          </ac:picMkLst>
        </pc:picChg>
      </pc:sldChg>
      <pc:sldChg chg="modSp mod">
        <pc:chgData name="Valentin GIANNINI" userId="282844b5-3252-425c-a805-4aeabb26e807" providerId="ADAL" clId="{6F65D988-6654-4D8F-8947-7EFB8B39E7D8}" dt="2021-10-04T14:51:00.063" v="548"/>
        <pc:sldMkLst>
          <pc:docMk/>
          <pc:sldMk cId="1794245620" sldId="486"/>
        </pc:sldMkLst>
        <pc:spChg chg="replST">
          <ac:chgData name="Valentin GIANNINI" userId="282844b5-3252-425c-a805-4aeabb26e807" providerId="ADAL" clId="{6F65D988-6654-4D8F-8947-7EFB8B39E7D8}" dt="2021-10-04T14:51:00.017" v="543"/>
          <ac:spMkLst>
            <pc:docMk/>
            <pc:sldMk cId="1794245620" sldId="486"/>
            <ac:spMk id="5" creationId="{C61B4995-4EFA-4848-8511-6E94B58DCA33}"/>
          </ac:spMkLst>
        </pc:spChg>
        <pc:spChg chg="replST">
          <ac:chgData name="Valentin GIANNINI" userId="282844b5-3252-425c-a805-4aeabb26e807" providerId="ADAL" clId="{6F65D988-6654-4D8F-8947-7EFB8B39E7D8}" dt="2021-10-04T14:51:00.033" v="545"/>
          <ac:spMkLst>
            <pc:docMk/>
            <pc:sldMk cId="1794245620" sldId="486"/>
            <ac:spMk id="12" creationId="{B24943CB-A122-4E5B-8BB8-103248D93AE9}"/>
          </ac:spMkLst>
        </pc:spChg>
        <pc:spChg chg="replST">
          <ac:chgData name="Valentin GIANNINI" userId="282844b5-3252-425c-a805-4aeabb26e807" providerId="ADAL" clId="{6F65D988-6654-4D8F-8947-7EFB8B39E7D8}" dt="2021-10-04T14:51:00.052" v="547"/>
          <ac:spMkLst>
            <pc:docMk/>
            <pc:sldMk cId="1794245620" sldId="486"/>
            <ac:spMk id="17" creationId="{2A93989B-9FF6-4757-A4D6-15BF4C7FA5B6}"/>
          </ac:spMkLst>
        </pc:spChg>
        <pc:picChg chg="replST">
          <ac:chgData name="Valentin GIANNINI" userId="282844b5-3252-425c-a805-4aeabb26e807" providerId="ADAL" clId="{6F65D988-6654-4D8F-8947-7EFB8B39E7D8}" dt="2021-10-04T14:51:00.063" v="548"/>
          <ac:picMkLst>
            <pc:docMk/>
            <pc:sldMk cId="1794245620" sldId="486"/>
            <ac:picMk id="3" creationId="{F876099B-0408-4835-A142-19A6F4B22B60}"/>
          </ac:picMkLst>
        </pc:picChg>
        <pc:picChg chg="replST">
          <ac:chgData name="Valentin GIANNINI" userId="282844b5-3252-425c-a805-4aeabb26e807" providerId="ADAL" clId="{6F65D988-6654-4D8F-8947-7EFB8B39E7D8}" dt="2021-10-04T14:51:00.026" v="544"/>
          <ac:picMkLst>
            <pc:docMk/>
            <pc:sldMk cId="1794245620" sldId="486"/>
            <ac:picMk id="8" creationId="{EC1D87E2-C519-47A7-8865-FA02DF22315F}"/>
          </ac:picMkLst>
        </pc:picChg>
        <pc:picChg chg="replST">
          <ac:chgData name="Valentin GIANNINI" userId="282844b5-3252-425c-a805-4aeabb26e807" providerId="ADAL" clId="{6F65D988-6654-4D8F-8947-7EFB8B39E7D8}" dt="2021-10-04T14:51:00.042" v="546"/>
          <ac:picMkLst>
            <pc:docMk/>
            <pc:sldMk cId="1794245620" sldId="486"/>
            <ac:picMk id="16" creationId="{E623ED41-9192-4972-88DC-7367D527AB91}"/>
          </ac:picMkLst>
        </pc:picChg>
      </pc:sldChg>
      <pc:sldChg chg="modSp mod">
        <pc:chgData name="Valentin GIANNINI" userId="282844b5-3252-425c-a805-4aeabb26e807" providerId="ADAL" clId="{6F65D988-6654-4D8F-8947-7EFB8B39E7D8}" dt="2021-10-04T14:51:00.101" v="553"/>
        <pc:sldMkLst>
          <pc:docMk/>
          <pc:sldMk cId="489198969" sldId="487"/>
        </pc:sldMkLst>
        <pc:spChg chg="replST">
          <ac:chgData name="Valentin GIANNINI" userId="282844b5-3252-425c-a805-4aeabb26e807" providerId="ADAL" clId="{6F65D988-6654-4D8F-8947-7EFB8B39E7D8}" dt="2021-10-04T14:51:00.075" v="549"/>
          <ac:spMkLst>
            <pc:docMk/>
            <pc:sldMk cId="489198969" sldId="487"/>
            <ac:spMk id="5" creationId="{C61B4995-4EFA-4848-8511-6E94B58DCA33}"/>
          </ac:spMkLst>
        </pc:spChg>
        <pc:spChg chg="replST">
          <ac:chgData name="Valentin GIANNINI" userId="282844b5-3252-425c-a805-4aeabb26e807" providerId="ADAL" clId="{6F65D988-6654-4D8F-8947-7EFB8B39E7D8}" dt="2021-10-04T14:51:00.088" v="551"/>
          <ac:spMkLst>
            <pc:docMk/>
            <pc:sldMk cId="489198969" sldId="487"/>
            <ac:spMk id="12" creationId="{B24943CB-A122-4E5B-8BB8-103248D93AE9}"/>
          </ac:spMkLst>
        </pc:spChg>
        <pc:spChg chg="replST">
          <ac:chgData name="Valentin GIANNINI" userId="282844b5-3252-425c-a805-4aeabb26e807" providerId="ADAL" clId="{6F65D988-6654-4D8F-8947-7EFB8B39E7D8}" dt="2021-10-04T14:51:00.095" v="552"/>
          <ac:spMkLst>
            <pc:docMk/>
            <pc:sldMk cId="489198969" sldId="487"/>
            <ac:spMk id="17" creationId="{2A93989B-9FF6-4757-A4D6-15BF4C7FA5B6}"/>
          </ac:spMkLst>
        </pc:spChg>
        <pc:graphicFrameChg chg="replST">
          <ac:chgData name="Valentin GIANNINI" userId="282844b5-3252-425c-a805-4aeabb26e807" providerId="ADAL" clId="{6F65D988-6654-4D8F-8947-7EFB8B39E7D8}" dt="2021-10-04T14:51:00.101" v="553"/>
          <ac:graphicFrameMkLst>
            <pc:docMk/>
            <pc:sldMk cId="489198969" sldId="487"/>
            <ac:graphicFrameMk id="6" creationId="{D228F73B-7F1B-47D1-80E8-49121E68919D}"/>
          </ac:graphicFrameMkLst>
        </pc:graphicFrameChg>
        <pc:picChg chg="replST">
          <ac:chgData name="Valentin GIANNINI" userId="282844b5-3252-425c-a805-4aeabb26e807" providerId="ADAL" clId="{6F65D988-6654-4D8F-8947-7EFB8B39E7D8}" dt="2021-10-04T14:51:00.082" v="550"/>
          <ac:picMkLst>
            <pc:docMk/>
            <pc:sldMk cId="489198969" sldId="487"/>
            <ac:picMk id="8" creationId="{EC1D87E2-C519-47A7-8865-FA02DF22315F}"/>
          </ac:picMkLst>
        </pc:picChg>
      </pc:sldChg>
      <pc:sldChg chg="modSp mod">
        <pc:chgData name="Valentin GIANNINI" userId="282844b5-3252-425c-a805-4aeabb26e807" providerId="ADAL" clId="{6F65D988-6654-4D8F-8947-7EFB8B39E7D8}" dt="2021-10-04T14:51:00.143" v="559"/>
        <pc:sldMkLst>
          <pc:docMk/>
          <pc:sldMk cId="1785664793" sldId="488"/>
        </pc:sldMkLst>
        <pc:spChg chg="replST">
          <ac:chgData name="Valentin GIANNINI" userId="282844b5-3252-425c-a805-4aeabb26e807" providerId="ADAL" clId="{6F65D988-6654-4D8F-8947-7EFB8B39E7D8}" dt="2021-10-04T14:51:00.111" v="554"/>
          <ac:spMkLst>
            <pc:docMk/>
            <pc:sldMk cId="1785664793" sldId="488"/>
            <ac:spMk id="5" creationId="{C61B4995-4EFA-4848-8511-6E94B58DCA33}"/>
          </ac:spMkLst>
        </pc:spChg>
        <pc:spChg chg="replST">
          <ac:chgData name="Valentin GIANNINI" userId="282844b5-3252-425c-a805-4aeabb26e807" providerId="ADAL" clId="{6F65D988-6654-4D8F-8947-7EFB8B39E7D8}" dt="2021-10-04T14:51:00.117" v="555"/>
          <ac:spMkLst>
            <pc:docMk/>
            <pc:sldMk cId="1785664793" sldId="488"/>
            <ac:spMk id="7" creationId="{FC7034FD-E775-4166-B15A-338B85E092AC}"/>
          </ac:spMkLst>
        </pc:spChg>
        <pc:spChg chg="replST">
          <ac:chgData name="Valentin GIANNINI" userId="282844b5-3252-425c-a805-4aeabb26e807" providerId="ADAL" clId="{6F65D988-6654-4D8F-8947-7EFB8B39E7D8}" dt="2021-10-04T14:51:00.136" v="558"/>
          <ac:spMkLst>
            <pc:docMk/>
            <pc:sldMk cId="1785664793" sldId="488"/>
            <ac:spMk id="11" creationId="{713361C6-6489-4F16-BE68-D638443CDBC3}"/>
          </ac:spMkLst>
        </pc:spChg>
        <pc:picChg chg="replST">
          <ac:chgData name="Valentin GIANNINI" userId="282844b5-3252-425c-a805-4aeabb26e807" providerId="ADAL" clId="{6F65D988-6654-4D8F-8947-7EFB8B39E7D8}" dt="2021-10-04T14:51:00.143" v="559"/>
          <ac:picMkLst>
            <pc:docMk/>
            <pc:sldMk cId="1785664793" sldId="488"/>
            <ac:picMk id="3" creationId="{EA4676CD-53D9-4B33-81C6-6EED3CDD2BD1}"/>
          </ac:picMkLst>
        </pc:picChg>
        <pc:picChg chg="replST">
          <ac:chgData name="Valentin GIANNINI" userId="282844b5-3252-425c-a805-4aeabb26e807" providerId="ADAL" clId="{6F65D988-6654-4D8F-8947-7EFB8B39E7D8}" dt="2021-10-04T14:51:00.125" v="556"/>
          <ac:picMkLst>
            <pc:docMk/>
            <pc:sldMk cId="1785664793" sldId="488"/>
            <ac:picMk id="9" creationId="{1524B4F4-1CED-4247-9CA2-5F0188428737}"/>
          </ac:picMkLst>
        </pc:picChg>
        <pc:picChg chg="replST">
          <ac:chgData name="Valentin GIANNINI" userId="282844b5-3252-425c-a805-4aeabb26e807" providerId="ADAL" clId="{6F65D988-6654-4D8F-8947-7EFB8B39E7D8}" dt="2021-10-04T14:51:00.130" v="557"/>
          <ac:picMkLst>
            <pc:docMk/>
            <pc:sldMk cId="1785664793" sldId="488"/>
            <ac:picMk id="10" creationId="{7E61CE90-2F7F-4CDC-8E08-E2B8E55FF9FA}"/>
          </ac:picMkLst>
        </pc:picChg>
      </pc:sldChg>
      <pc:sldChg chg="modSp mod">
        <pc:chgData name="Valentin GIANNINI" userId="282844b5-3252-425c-a805-4aeabb26e807" providerId="ADAL" clId="{6F65D988-6654-4D8F-8947-7EFB8B39E7D8}" dt="2021-10-04T14:51:00.175" v="564"/>
        <pc:sldMkLst>
          <pc:docMk/>
          <pc:sldMk cId="4087387552" sldId="489"/>
        </pc:sldMkLst>
        <pc:spChg chg="replST">
          <ac:chgData name="Valentin GIANNINI" userId="282844b5-3252-425c-a805-4aeabb26e807" providerId="ADAL" clId="{6F65D988-6654-4D8F-8947-7EFB8B39E7D8}" dt="2021-10-04T14:51:00.151" v="560"/>
          <ac:spMkLst>
            <pc:docMk/>
            <pc:sldMk cId="4087387552" sldId="489"/>
            <ac:spMk id="5" creationId="{C61B4995-4EFA-4848-8511-6E94B58DCA33}"/>
          </ac:spMkLst>
        </pc:spChg>
        <pc:spChg chg="replST">
          <ac:chgData name="Valentin GIANNINI" userId="282844b5-3252-425c-a805-4aeabb26e807" providerId="ADAL" clId="{6F65D988-6654-4D8F-8947-7EFB8B39E7D8}" dt="2021-10-04T14:51:00.175" v="564"/>
          <ac:spMkLst>
            <pc:docMk/>
            <pc:sldMk cId="4087387552" sldId="489"/>
            <ac:spMk id="10" creationId="{A5612C24-9BBE-443B-878F-7D7955B2C531}"/>
          </ac:spMkLst>
        </pc:spChg>
        <pc:spChg chg="replST">
          <ac:chgData name="Valentin GIANNINI" userId="282844b5-3252-425c-a805-4aeabb26e807" providerId="ADAL" clId="{6F65D988-6654-4D8F-8947-7EFB8B39E7D8}" dt="2021-10-04T14:51:00.158" v="561"/>
          <ac:spMkLst>
            <pc:docMk/>
            <pc:sldMk cId="4087387552" sldId="489"/>
            <ac:spMk id="12" creationId="{B24943CB-A122-4E5B-8BB8-103248D93AE9}"/>
          </ac:spMkLst>
        </pc:spChg>
        <pc:graphicFrameChg chg="replST">
          <ac:chgData name="Valentin GIANNINI" userId="282844b5-3252-425c-a805-4aeabb26e807" providerId="ADAL" clId="{6F65D988-6654-4D8F-8947-7EFB8B39E7D8}" dt="2021-10-04T14:51:00.163" v="562"/>
          <ac:graphicFrameMkLst>
            <pc:docMk/>
            <pc:sldMk cId="4087387552" sldId="489"/>
            <ac:graphicFrameMk id="6" creationId="{D228F73B-7F1B-47D1-80E8-49121E68919D}"/>
          </ac:graphicFrameMkLst>
        </pc:graphicFrameChg>
        <pc:picChg chg="replST">
          <ac:chgData name="Valentin GIANNINI" userId="282844b5-3252-425c-a805-4aeabb26e807" providerId="ADAL" clId="{6F65D988-6654-4D8F-8947-7EFB8B39E7D8}" dt="2021-10-04T14:51:00.169" v="563"/>
          <ac:picMkLst>
            <pc:docMk/>
            <pc:sldMk cId="4087387552" sldId="489"/>
            <ac:picMk id="9" creationId="{032F7B61-8C1F-4549-88FF-26DA015C39EA}"/>
          </ac:picMkLst>
        </pc:picChg>
      </pc:sldChg>
      <pc:sldChg chg="modSp mod">
        <pc:chgData name="Valentin GIANNINI" userId="282844b5-3252-425c-a805-4aeabb26e807" providerId="ADAL" clId="{6F65D988-6654-4D8F-8947-7EFB8B39E7D8}" dt="2021-10-04T14:51:00.200" v="568"/>
        <pc:sldMkLst>
          <pc:docMk/>
          <pc:sldMk cId="780685831" sldId="490"/>
        </pc:sldMkLst>
        <pc:spChg chg="replST">
          <ac:chgData name="Valentin GIANNINI" userId="282844b5-3252-425c-a805-4aeabb26e807" providerId="ADAL" clId="{6F65D988-6654-4D8F-8947-7EFB8B39E7D8}" dt="2021-10-04T14:51:00.184" v="565"/>
          <ac:spMkLst>
            <pc:docMk/>
            <pc:sldMk cId="780685831" sldId="490"/>
            <ac:spMk id="5" creationId="{C61B4995-4EFA-4848-8511-6E94B58DCA33}"/>
          </ac:spMkLst>
        </pc:spChg>
        <pc:spChg chg="replST">
          <ac:chgData name="Valentin GIANNINI" userId="282844b5-3252-425c-a805-4aeabb26e807" providerId="ADAL" clId="{6F65D988-6654-4D8F-8947-7EFB8B39E7D8}" dt="2021-10-04T14:51:00.188" v="566"/>
          <ac:spMkLst>
            <pc:docMk/>
            <pc:sldMk cId="780685831" sldId="490"/>
            <ac:spMk id="9" creationId="{02C544C8-C14B-481A-A936-F010CE86D849}"/>
          </ac:spMkLst>
        </pc:spChg>
        <pc:graphicFrameChg chg="replST">
          <ac:chgData name="Valentin GIANNINI" userId="282844b5-3252-425c-a805-4aeabb26e807" providerId="ADAL" clId="{6F65D988-6654-4D8F-8947-7EFB8B39E7D8}" dt="2021-10-04T14:51:00.200" v="568"/>
          <ac:graphicFrameMkLst>
            <pc:docMk/>
            <pc:sldMk cId="780685831" sldId="490"/>
            <ac:graphicFrameMk id="11" creationId="{B52696A9-2325-4130-98C5-4AF136A50449}"/>
          </ac:graphicFrameMkLst>
        </pc:graphicFrameChg>
        <pc:picChg chg="replST">
          <ac:chgData name="Valentin GIANNINI" userId="282844b5-3252-425c-a805-4aeabb26e807" providerId="ADAL" clId="{6F65D988-6654-4D8F-8947-7EFB8B39E7D8}" dt="2021-10-04T14:51:00.193" v="567"/>
          <ac:picMkLst>
            <pc:docMk/>
            <pc:sldMk cId="780685831" sldId="490"/>
            <ac:picMk id="10" creationId="{8F464297-4834-4F69-99A2-75F86171EE8B}"/>
          </ac:picMkLst>
        </pc:picChg>
      </pc:sldChg>
    </pc:docChg>
  </pc:docChgLst>
  <pc:docChgLst>
    <pc:chgData name="Julien EHRHART" userId="55bed575-b3f6-4338-a69e-2f21ade3e668" providerId="ADAL" clId="{C77FC06C-937D-4422-94EC-F7EF833AF810}"/>
    <pc:docChg chg="modSld">
      <pc:chgData name="Julien EHRHART" userId="55bed575-b3f6-4338-a69e-2f21ade3e668" providerId="ADAL" clId="{C77FC06C-937D-4422-94EC-F7EF833AF810}" dt="2021-10-05T06:23:58.387" v="10" actId="6549"/>
      <pc:docMkLst>
        <pc:docMk/>
      </pc:docMkLst>
      <pc:sldChg chg="modSp mod">
        <pc:chgData name="Julien EHRHART" userId="55bed575-b3f6-4338-a69e-2f21ade3e668" providerId="ADAL" clId="{C77FC06C-937D-4422-94EC-F7EF833AF810}" dt="2021-10-05T06:20:33.010" v="9" actId="20577"/>
        <pc:sldMkLst>
          <pc:docMk/>
          <pc:sldMk cId="24272977" sldId="274"/>
        </pc:sldMkLst>
        <pc:spChg chg="mod">
          <ac:chgData name="Julien EHRHART" userId="55bed575-b3f6-4338-a69e-2f21ade3e668" providerId="ADAL" clId="{C77FC06C-937D-4422-94EC-F7EF833AF810}" dt="2021-10-05T06:20:33.010" v="9" actId="20577"/>
          <ac:spMkLst>
            <pc:docMk/>
            <pc:sldMk cId="24272977" sldId="274"/>
            <ac:spMk id="11" creationId="{3664D79C-4FE9-44C5-BEF5-8C9F6A93DCB9}"/>
          </ac:spMkLst>
        </pc:spChg>
      </pc:sldChg>
      <pc:sldChg chg="modSp mod">
        <pc:chgData name="Julien EHRHART" userId="55bed575-b3f6-4338-a69e-2f21ade3e668" providerId="ADAL" clId="{C77FC06C-937D-4422-94EC-F7EF833AF810}" dt="2021-10-05T06:23:58.387" v="10" actId="6549"/>
        <pc:sldMkLst>
          <pc:docMk/>
          <pc:sldMk cId="2088034320" sldId="473"/>
        </pc:sldMkLst>
        <pc:spChg chg="mod">
          <ac:chgData name="Julien EHRHART" userId="55bed575-b3f6-4338-a69e-2f21ade3e668" providerId="ADAL" clId="{C77FC06C-937D-4422-94EC-F7EF833AF810}" dt="2021-10-05T06:23:58.387" v="10" actId="6549"/>
          <ac:spMkLst>
            <pc:docMk/>
            <pc:sldMk cId="2088034320" sldId="473"/>
            <ac:spMk id="2" creationId="{2CEF1B7E-C78A-4E45-AF68-C88303977A3F}"/>
          </ac:spMkLst>
        </pc:spChg>
      </pc:sldChg>
    </pc:docChg>
  </pc:docChgLst>
  <pc:docChgLst>
    <pc:chgData name="Elliot RASCH" userId="2f4a8af0-b35f-4610-9bc2-bfab6d4d3e11" providerId="ADAL" clId="{A51B066E-7055-4FD4-A838-6978105183AF}"/>
    <pc:docChg chg="undo redo custSel addSld delSld modSld sldOrd addSection modSection">
      <pc:chgData name="Elliot RASCH" userId="2f4a8af0-b35f-4610-9bc2-bfab6d4d3e11" providerId="ADAL" clId="{A51B066E-7055-4FD4-A838-6978105183AF}" dt="2021-10-04T12:20:22.886" v="9645" actId="478"/>
      <pc:docMkLst>
        <pc:docMk/>
      </pc:docMkLst>
      <pc:sldChg chg="mod modShow">
        <pc:chgData name="Elliot RASCH" userId="2f4a8af0-b35f-4610-9bc2-bfab6d4d3e11" providerId="ADAL" clId="{A51B066E-7055-4FD4-A838-6978105183AF}" dt="2021-09-23T07:10:10.255" v="214" actId="729"/>
        <pc:sldMkLst>
          <pc:docMk/>
          <pc:sldMk cId="1022600789" sldId="257"/>
        </pc:sldMkLst>
      </pc:sldChg>
      <pc:sldChg chg="del">
        <pc:chgData name="Elliot RASCH" userId="2f4a8af0-b35f-4610-9bc2-bfab6d4d3e11" providerId="ADAL" clId="{A51B066E-7055-4FD4-A838-6978105183AF}" dt="2021-09-23T07:25:44.736" v="471" actId="2696"/>
        <pc:sldMkLst>
          <pc:docMk/>
          <pc:sldMk cId="2208748889" sldId="262"/>
        </pc:sldMkLst>
      </pc:sldChg>
      <pc:sldChg chg="modSp mod addCm">
        <pc:chgData name="Elliot RASCH" userId="2f4a8af0-b35f-4610-9bc2-bfab6d4d3e11" providerId="ADAL" clId="{A51B066E-7055-4FD4-A838-6978105183AF}" dt="2021-10-01T14:30:13.286" v="8672" actId="115"/>
        <pc:sldMkLst>
          <pc:docMk/>
          <pc:sldMk cId="24272977" sldId="274"/>
        </pc:sldMkLst>
        <pc:spChg chg="mod">
          <ac:chgData name="Elliot RASCH" userId="2f4a8af0-b35f-4610-9bc2-bfab6d4d3e11" providerId="ADAL" clId="{A51B066E-7055-4FD4-A838-6978105183AF}" dt="2021-10-01T14:30:13.286" v="8672" actId="115"/>
          <ac:spMkLst>
            <pc:docMk/>
            <pc:sldMk cId="24272977" sldId="274"/>
            <ac:spMk id="11" creationId="{3664D79C-4FE9-44C5-BEF5-8C9F6A93DCB9}"/>
          </ac:spMkLst>
        </pc:spChg>
      </pc:sldChg>
      <pc:sldChg chg="modSp modAnim addCm modCm">
        <pc:chgData name="Elliot RASCH" userId="2f4a8af0-b35f-4610-9bc2-bfab6d4d3e11" providerId="ADAL" clId="{A51B066E-7055-4FD4-A838-6978105183AF}" dt="2021-10-04T08:13:27.074" v="9559"/>
        <pc:sldMkLst>
          <pc:docMk/>
          <pc:sldMk cId="499463606" sldId="407"/>
        </pc:sldMkLst>
        <pc:graphicFrameChg chg="mod">
          <ac:chgData name="Elliot RASCH" userId="2f4a8af0-b35f-4610-9bc2-bfab6d4d3e11" providerId="ADAL" clId="{A51B066E-7055-4FD4-A838-6978105183AF}" dt="2021-10-04T08:13:27.074" v="9559"/>
          <ac:graphicFrameMkLst>
            <pc:docMk/>
            <pc:sldMk cId="499463606" sldId="407"/>
            <ac:graphicFrameMk id="11" creationId="{7B51C2DC-17B7-49A8-BBF4-FEF58EE3F3BA}"/>
          </ac:graphicFrameMkLst>
        </pc:graphicFrameChg>
      </pc:sldChg>
      <pc:sldChg chg="del modNotesTx">
        <pc:chgData name="Elliot RASCH" userId="2f4a8af0-b35f-4610-9bc2-bfab6d4d3e11" providerId="ADAL" clId="{A51B066E-7055-4FD4-A838-6978105183AF}" dt="2021-09-26T19:54:06.503" v="2498" actId="2696"/>
        <pc:sldMkLst>
          <pc:docMk/>
          <pc:sldMk cId="746720177" sldId="436"/>
        </pc:sldMkLst>
      </pc:sldChg>
      <pc:sldChg chg="del">
        <pc:chgData name="Elliot RASCH" userId="2f4a8af0-b35f-4610-9bc2-bfab6d4d3e11" providerId="ADAL" clId="{A51B066E-7055-4FD4-A838-6978105183AF}" dt="2021-09-29T15:58:57.982" v="5523" actId="47"/>
        <pc:sldMkLst>
          <pc:docMk/>
          <pc:sldMk cId="2564371311" sldId="437"/>
        </pc:sldMkLst>
      </pc:sldChg>
      <pc:sldChg chg="del">
        <pc:chgData name="Elliot RASCH" userId="2f4a8af0-b35f-4610-9bc2-bfab6d4d3e11" providerId="ADAL" clId="{A51B066E-7055-4FD4-A838-6978105183AF}" dt="2021-09-29T15:58:53.271" v="5522" actId="47"/>
        <pc:sldMkLst>
          <pc:docMk/>
          <pc:sldMk cId="2879597224" sldId="438"/>
        </pc:sldMkLst>
      </pc:sldChg>
      <pc:sldChg chg="addSp delSp modSp add mod modShow">
        <pc:chgData name="Elliot RASCH" userId="2f4a8af0-b35f-4610-9bc2-bfab6d4d3e11" providerId="ADAL" clId="{A51B066E-7055-4FD4-A838-6978105183AF}" dt="2021-09-23T07:30:17.147" v="493" actId="1038"/>
        <pc:sldMkLst>
          <pc:docMk/>
          <pc:sldMk cId="2026788672" sldId="439"/>
        </pc:sldMkLst>
        <pc:spChg chg="mod">
          <ac:chgData name="Elliot RASCH" userId="2f4a8af0-b35f-4610-9bc2-bfab6d4d3e11" providerId="ADAL" clId="{A51B066E-7055-4FD4-A838-6978105183AF}" dt="2021-09-23T07:06:09.865" v="121" actId="14100"/>
          <ac:spMkLst>
            <pc:docMk/>
            <pc:sldMk cId="2026788672" sldId="439"/>
            <ac:spMk id="6" creationId="{5E20247E-8AE2-9546-88DF-24BBEFC7E0A2}"/>
          </ac:spMkLst>
        </pc:spChg>
        <pc:spChg chg="del">
          <ac:chgData name="Elliot RASCH" userId="2f4a8af0-b35f-4610-9bc2-bfab6d4d3e11" providerId="ADAL" clId="{A51B066E-7055-4FD4-A838-6978105183AF}" dt="2021-09-23T07:01:10.687" v="17" actId="478"/>
          <ac:spMkLst>
            <pc:docMk/>
            <pc:sldMk cId="2026788672" sldId="439"/>
            <ac:spMk id="7" creationId="{A46A2587-A863-F74A-B5A2-B22D0205B649}"/>
          </ac:spMkLst>
        </pc:spChg>
        <pc:spChg chg="add del">
          <ac:chgData name="Elliot RASCH" userId="2f4a8af0-b35f-4610-9bc2-bfab6d4d3e11" providerId="ADAL" clId="{A51B066E-7055-4FD4-A838-6978105183AF}" dt="2021-09-23T07:01:25.725" v="30" actId="478"/>
          <ac:spMkLst>
            <pc:docMk/>
            <pc:sldMk cId="2026788672" sldId="439"/>
            <ac:spMk id="8" creationId="{4907B104-E1AA-DB42-BF69-98228AC1E9D4}"/>
          </ac:spMkLst>
        </pc:spChg>
        <pc:spChg chg="add del mod">
          <ac:chgData name="Elliot RASCH" userId="2f4a8af0-b35f-4610-9bc2-bfab6d4d3e11" providerId="ADAL" clId="{A51B066E-7055-4FD4-A838-6978105183AF}" dt="2021-09-23T07:04:32.584" v="86" actId="478"/>
          <ac:spMkLst>
            <pc:docMk/>
            <pc:sldMk cId="2026788672" sldId="439"/>
            <ac:spMk id="9" creationId="{B9C10E42-57EB-429B-B143-DD4FF3EB66F1}"/>
          </ac:spMkLst>
        </pc:spChg>
        <pc:spChg chg="del">
          <ac:chgData name="Elliot RASCH" userId="2f4a8af0-b35f-4610-9bc2-bfab6d4d3e11" providerId="ADAL" clId="{A51B066E-7055-4FD4-A838-6978105183AF}" dt="2021-09-23T07:02:23.754" v="52" actId="478"/>
          <ac:spMkLst>
            <pc:docMk/>
            <pc:sldMk cId="2026788672" sldId="439"/>
            <ac:spMk id="10" creationId="{C84A74FE-DD95-8D4C-AD98-107FAC3B91B2}"/>
          </ac:spMkLst>
        </pc:spChg>
        <pc:spChg chg="mod">
          <ac:chgData name="Elliot RASCH" userId="2f4a8af0-b35f-4610-9bc2-bfab6d4d3e11" providerId="ADAL" clId="{A51B066E-7055-4FD4-A838-6978105183AF}" dt="2021-09-23T07:03:15.692" v="71" actId="1035"/>
          <ac:spMkLst>
            <pc:docMk/>
            <pc:sldMk cId="2026788672" sldId="439"/>
            <ac:spMk id="114" creationId="{00000000-0000-0000-0000-000000000000}"/>
          </ac:spMkLst>
        </pc:spChg>
        <pc:picChg chg="add mod modCrop">
          <ac:chgData name="Elliot RASCH" userId="2f4a8af0-b35f-4610-9bc2-bfab6d4d3e11" providerId="ADAL" clId="{A51B066E-7055-4FD4-A838-6978105183AF}" dt="2021-09-23T07:30:17.147" v="493" actId="1038"/>
          <ac:picMkLst>
            <pc:docMk/>
            <pc:sldMk cId="2026788672" sldId="439"/>
            <ac:picMk id="3" creationId="{3D77C924-8ACB-4330-8CDC-607FDAA26365}"/>
          </ac:picMkLst>
        </pc:picChg>
      </pc:sldChg>
      <pc:sldChg chg="modSp add mod addCm delCm modNotesTx">
        <pc:chgData name="Elliot RASCH" userId="2f4a8af0-b35f-4610-9bc2-bfab6d4d3e11" providerId="ADAL" clId="{A51B066E-7055-4FD4-A838-6978105183AF}" dt="2021-09-24T17:56:42.611" v="1529" actId="20577"/>
        <pc:sldMkLst>
          <pc:docMk/>
          <pc:sldMk cId="974436537" sldId="440"/>
        </pc:sldMkLst>
        <pc:spChg chg="mod">
          <ac:chgData name="Elliot RASCH" userId="2f4a8af0-b35f-4610-9bc2-bfab6d4d3e11" providerId="ADAL" clId="{A51B066E-7055-4FD4-A838-6978105183AF}" dt="2021-09-23T07:11:01.683" v="219"/>
          <ac:spMkLst>
            <pc:docMk/>
            <pc:sldMk cId="974436537" sldId="440"/>
            <ac:spMk id="6" creationId="{5E20247E-8AE2-9546-88DF-24BBEFC7E0A2}"/>
          </ac:spMkLst>
        </pc:spChg>
        <pc:spChg chg="mod">
          <ac:chgData name="Elliot RASCH" userId="2f4a8af0-b35f-4610-9bc2-bfab6d4d3e11" providerId="ADAL" clId="{A51B066E-7055-4FD4-A838-6978105183AF}" dt="2021-09-23T07:10:33.286" v="218" actId="207"/>
          <ac:spMkLst>
            <pc:docMk/>
            <pc:sldMk cId="974436537" sldId="440"/>
            <ac:spMk id="114" creationId="{00000000-0000-0000-0000-000000000000}"/>
          </ac:spMkLst>
        </pc:spChg>
      </pc:sldChg>
      <pc:sldChg chg="modSp new mod">
        <pc:chgData name="Elliot RASCH" userId="2f4a8af0-b35f-4610-9bc2-bfab6d4d3e11" providerId="ADAL" clId="{A51B066E-7055-4FD4-A838-6978105183AF}" dt="2021-09-23T07:11:19.735" v="224" actId="20577"/>
        <pc:sldMkLst>
          <pc:docMk/>
          <pc:sldMk cId="3064383426" sldId="441"/>
        </pc:sldMkLst>
        <pc:spChg chg="mod">
          <ac:chgData name="Elliot RASCH" userId="2f4a8af0-b35f-4610-9bc2-bfab6d4d3e11" providerId="ADAL" clId="{A51B066E-7055-4FD4-A838-6978105183AF}" dt="2021-09-23T07:11:19.735" v="224" actId="20577"/>
          <ac:spMkLst>
            <pc:docMk/>
            <pc:sldMk cId="3064383426" sldId="441"/>
            <ac:spMk id="2" creationId="{30CBB202-04BF-4168-B6E2-02F123C53BC3}"/>
          </ac:spMkLst>
        </pc:spChg>
      </pc:sldChg>
      <pc:sldChg chg="modSp new del mod">
        <pc:chgData name="Elliot RASCH" userId="2f4a8af0-b35f-4610-9bc2-bfab6d4d3e11" providerId="ADAL" clId="{A51B066E-7055-4FD4-A838-6978105183AF}" dt="2021-09-29T16:12:40.767" v="5605" actId="47"/>
        <pc:sldMkLst>
          <pc:docMk/>
          <pc:sldMk cId="3406808298" sldId="442"/>
        </pc:sldMkLst>
        <pc:spChg chg="mod">
          <ac:chgData name="Elliot RASCH" userId="2f4a8af0-b35f-4610-9bc2-bfab6d4d3e11" providerId="ADAL" clId="{A51B066E-7055-4FD4-A838-6978105183AF}" dt="2021-09-29T15:39:19.056" v="5017" actId="1076"/>
          <ac:spMkLst>
            <pc:docMk/>
            <pc:sldMk cId="3406808298" sldId="442"/>
            <ac:spMk id="2" creationId="{95B892E2-8BDC-4D84-A164-98B11A7C177A}"/>
          </ac:spMkLst>
        </pc:spChg>
      </pc:sldChg>
      <pc:sldChg chg="addSp delSp modSp add mod ord modAnim modShow">
        <pc:chgData name="Elliot RASCH" userId="2f4a8af0-b35f-4610-9bc2-bfab6d4d3e11" providerId="ADAL" clId="{A51B066E-7055-4FD4-A838-6978105183AF}" dt="2021-09-29T15:39:34.011" v="5023"/>
        <pc:sldMkLst>
          <pc:docMk/>
          <pc:sldMk cId="1696930645" sldId="443"/>
        </pc:sldMkLst>
        <pc:spChg chg="del">
          <ac:chgData name="Elliot RASCH" userId="2f4a8af0-b35f-4610-9bc2-bfab6d4d3e11" providerId="ADAL" clId="{A51B066E-7055-4FD4-A838-6978105183AF}" dt="2021-09-23T07:13:33.515" v="279" actId="478"/>
          <ac:spMkLst>
            <pc:docMk/>
            <pc:sldMk cId="1696930645" sldId="443"/>
            <ac:spMk id="12" creationId="{69493E5C-48EC-E84D-A1D8-43B2441441E4}"/>
          </ac:spMkLst>
        </pc:spChg>
        <pc:spChg chg="del">
          <ac:chgData name="Elliot RASCH" userId="2f4a8af0-b35f-4610-9bc2-bfab6d4d3e11" providerId="ADAL" clId="{A51B066E-7055-4FD4-A838-6978105183AF}" dt="2021-09-23T07:13:32.711" v="278" actId="478"/>
          <ac:spMkLst>
            <pc:docMk/>
            <pc:sldMk cId="1696930645" sldId="443"/>
            <ac:spMk id="13" creationId="{62BE6A31-1737-6B41-A97A-0E6FD7C51C41}"/>
          </ac:spMkLst>
        </pc:spChg>
        <pc:spChg chg="mod">
          <ac:chgData name="Elliot RASCH" userId="2f4a8af0-b35f-4610-9bc2-bfab6d4d3e11" providerId="ADAL" clId="{A51B066E-7055-4FD4-A838-6978105183AF}" dt="2021-09-29T15:39:13.739" v="5004" actId="14100"/>
          <ac:spMkLst>
            <pc:docMk/>
            <pc:sldMk cId="1696930645" sldId="443"/>
            <ac:spMk id="14" creationId="{ADE24960-3DC1-4F40-8705-D09E167A0C53}"/>
          </ac:spMkLst>
        </pc:spChg>
        <pc:spChg chg="mod">
          <ac:chgData name="Elliot RASCH" userId="2f4a8af0-b35f-4610-9bc2-bfab6d4d3e11" providerId="ADAL" clId="{A51B066E-7055-4FD4-A838-6978105183AF}" dt="2021-09-29T15:39:25.497" v="5021" actId="20577"/>
          <ac:spMkLst>
            <pc:docMk/>
            <pc:sldMk cId="1696930645" sldId="443"/>
            <ac:spMk id="15" creationId="{876AB4B5-129A-7F43-9340-1BAF49B9B459}"/>
          </ac:spMkLst>
        </pc:spChg>
        <pc:spChg chg="add del">
          <ac:chgData name="Elliot RASCH" userId="2f4a8af0-b35f-4610-9bc2-bfab6d4d3e11" providerId="ADAL" clId="{A51B066E-7055-4FD4-A838-6978105183AF}" dt="2021-09-23T07:13:37.147" v="281" actId="22"/>
          <ac:spMkLst>
            <pc:docMk/>
            <pc:sldMk cId="1696930645" sldId="443"/>
            <ac:spMk id="16" creationId="{C214C899-5782-4786-92FE-D569E15B5646}"/>
          </ac:spMkLst>
        </pc:spChg>
        <pc:spChg chg="add del">
          <ac:chgData name="Elliot RASCH" userId="2f4a8af0-b35f-4610-9bc2-bfab6d4d3e11" providerId="ADAL" clId="{A51B066E-7055-4FD4-A838-6978105183AF}" dt="2021-09-23T07:13:39.998" v="283" actId="22"/>
          <ac:spMkLst>
            <pc:docMk/>
            <pc:sldMk cId="1696930645" sldId="443"/>
            <ac:spMk id="17" creationId="{73E38F3F-9F26-4029-B907-CA194989037E}"/>
          </ac:spMkLst>
        </pc:spChg>
        <pc:spChg chg="del">
          <ac:chgData name="Elliot RASCH" userId="2f4a8af0-b35f-4610-9bc2-bfab6d4d3e11" providerId="ADAL" clId="{A51B066E-7055-4FD4-A838-6978105183AF}" dt="2021-09-23T07:13:32.711" v="278" actId="478"/>
          <ac:spMkLst>
            <pc:docMk/>
            <pc:sldMk cId="1696930645" sldId="443"/>
            <ac:spMk id="24" creationId="{E0BBBEB7-F1E9-7E49-9FC7-4506EB6F2A36}"/>
          </ac:spMkLst>
        </pc:spChg>
        <pc:spChg chg="del">
          <ac:chgData name="Elliot RASCH" userId="2f4a8af0-b35f-4610-9bc2-bfab6d4d3e11" providerId="ADAL" clId="{A51B066E-7055-4FD4-A838-6978105183AF}" dt="2021-09-23T07:13:30.433" v="277" actId="478"/>
          <ac:spMkLst>
            <pc:docMk/>
            <pc:sldMk cId="1696930645" sldId="443"/>
            <ac:spMk id="25" creationId="{1CCAFFDC-E1DF-8947-BEF6-A33F2A79CE22}"/>
          </ac:spMkLst>
        </pc:spChg>
        <pc:spChg chg="del">
          <ac:chgData name="Elliot RASCH" userId="2f4a8af0-b35f-4610-9bc2-bfab6d4d3e11" providerId="ADAL" clId="{A51B066E-7055-4FD4-A838-6978105183AF}" dt="2021-09-23T07:13:32.711" v="278" actId="478"/>
          <ac:spMkLst>
            <pc:docMk/>
            <pc:sldMk cId="1696930645" sldId="443"/>
            <ac:spMk id="26" creationId="{CE182F9F-0433-F946-87D0-D7D3EF895E79}"/>
          </ac:spMkLst>
        </pc:spChg>
        <pc:spChg chg="del">
          <ac:chgData name="Elliot RASCH" userId="2f4a8af0-b35f-4610-9bc2-bfab6d4d3e11" providerId="ADAL" clId="{A51B066E-7055-4FD4-A838-6978105183AF}" dt="2021-09-23T07:13:32.711" v="278" actId="478"/>
          <ac:spMkLst>
            <pc:docMk/>
            <pc:sldMk cId="1696930645" sldId="443"/>
            <ac:spMk id="27" creationId="{AE09BDB1-E050-DA43-99B1-26B9A4A5793E}"/>
          </ac:spMkLst>
        </pc:spChg>
        <pc:spChg chg="del">
          <ac:chgData name="Elliot RASCH" userId="2f4a8af0-b35f-4610-9bc2-bfab6d4d3e11" providerId="ADAL" clId="{A51B066E-7055-4FD4-A838-6978105183AF}" dt="2021-09-23T07:13:32.711" v="278" actId="478"/>
          <ac:spMkLst>
            <pc:docMk/>
            <pc:sldMk cId="1696930645" sldId="443"/>
            <ac:spMk id="28" creationId="{DCC737CF-8A2F-ED45-B70F-E1798681C245}"/>
          </ac:spMkLst>
        </pc:spChg>
        <pc:spChg chg="add mod">
          <ac:chgData name="Elliot RASCH" userId="2f4a8af0-b35f-4610-9bc2-bfab6d4d3e11" providerId="ADAL" clId="{A51B066E-7055-4FD4-A838-6978105183AF}" dt="2021-09-23T07:21:43.658" v="455" actId="164"/>
          <ac:spMkLst>
            <pc:docMk/>
            <pc:sldMk cId="1696930645" sldId="443"/>
            <ac:spMk id="57" creationId="{F5F5BD91-0313-4306-ACAD-F25D04FD37EC}"/>
          </ac:spMkLst>
        </pc:spChg>
        <pc:spChg chg="add mod">
          <ac:chgData name="Elliot RASCH" userId="2f4a8af0-b35f-4610-9bc2-bfab6d4d3e11" providerId="ADAL" clId="{A51B066E-7055-4FD4-A838-6978105183AF}" dt="2021-09-25T15:37:54.831" v="2138" actId="2711"/>
          <ac:spMkLst>
            <pc:docMk/>
            <pc:sldMk cId="1696930645" sldId="443"/>
            <ac:spMk id="60" creationId="{FED8F934-8A77-4764-B817-CE00A9B69D18}"/>
          </ac:spMkLst>
        </pc:spChg>
        <pc:grpChg chg="add mod">
          <ac:chgData name="Elliot RASCH" userId="2f4a8af0-b35f-4610-9bc2-bfab6d4d3e11" providerId="ADAL" clId="{A51B066E-7055-4FD4-A838-6978105183AF}" dt="2021-09-24T12:11:56.143" v="910" actId="164"/>
          <ac:grpSpMkLst>
            <pc:docMk/>
            <pc:sldMk cId="1696930645" sldId="443"/>
            <ac:grpSpMk id="2" creationId="{50010F97-A9CE-4192-8CE3-DAB1D6F1A95E}"/>
          </ac:grpSpMkLst>
        </pc:grpChg>
        <pc:grpChg chg="add mod">
          <ac:chgData name="Elliot RASCH" userId="2f4a8af0-b35f-4610-9bc2-bfab6d4d3e11" providerId="ADAL" clId="{A51B066E-7055-4FD4-A838-6978105183AF}" dt="2021-09-24T12:12:07.994" v="912" actId="164"/>
          <ac:grpSpMkLst>
            <pc:docMk/>
            <pc:sldMk cId="1696930645" sldId="443"/>
            <ac:grpSpMk id="3" creationId="{50629D13-F737-49DC-8328-703D66CB4AA5}"/>
          </ac:grpSpMkLst>
        </pc:grpChg>
        <pc:grpChg chg="add mod">
          <ac:chgData name="Elliot RASCH" userId="2f4a8af0-b35f-4610-9bc2-bfab6d4d3e11" providerId="ADAL" clId="{A51B066E-7055-4FD4-A838-6978105183AF}" dt="2021-09-24T12:12:15.948" v="913" actId="164"/>
          <ac:grpSpMkLst>
            <pc:docMk/>
            <pc:sldMk cId="1696930645" sldId="443"/>
            <ac:grpSpMk id="4" creationId="{FE85AACC-BFA7-459D-AC17-3CF963683473}"/>
          </ac:grpSpMkLst>
        </pc:grpChg>
        <pc:grpChg chg="add mod">
          <ac:chgData name="Elliot RASCH" userId="2f4a8af0-b35f-4610-9bc2-bfab6d4d3e11" providerId="ADAL" clId="{A51B066E-7055-4FD4-A838-6978105183AF}" dt="2021-09-24T12:12:07.994" v="912" actId="164"/>
          <ac:grpSpMkLst>
            <pc:docMk/>
            <pc:sldMk cId="1696930645" sldId="443"/>
            <ac:grpSpMk id="61" creationId="{CE868735-9376-4DB7-81FB-DE317191A48D}"/>
          </ac:grpSpMkLst>
        </pc:grpChg>
        <pc:grpChg chg="add mod">
          <ac:chgData name="Elliot RASCH" userId="2f4a8af0-b35f-4610-9bc2-bfab6d4d3e11" providerId="ADAL" clId="{A51B066E-7055-4FD4-A838-6978105183AF}" dt="2021-09-24T12:11:56.143" v="910" actId="164"/>
          <ac:grpSpMkLst>
            <pc:docMk/>
            <pc:sldMk cId="1696930645" sldId="443"/>
            <ac:grpSpMk id="62" creationId="{B3758F69-8F50-408F-9100-2EA566A3BA02}"/>
          </ac:grpSpMkLst>
        </pc:grpChg>
        <pc:picChg chg="add del mod">
          <ac:chgData name="Elliot RASCH" userId="2f4a8af0-b35f-4610-9bc2-bfab6d4d3e11" providerId="ADAL" clId="{A51B066E-7055-4FD4-A838-6978105183AF}" dt="2021-09-23T07:14:29.301" v="317" actId="931"/>
          <ac:picMkLst>
            <pc:docMk/>
            <pc:sldMk cId="1696930645" sldId="443"/>
            <ac:picMk id="5" creationId="{EB7C7EF6-7F08-4D67-B292-22BDE99562B7}"/>
          </ac:picMkLst>
        </pc:picChg>
        <pc:picChg chg="add del mod">
          <ac:chgData name="Elliot RASCH" userId="2f4a8af0-b35f-4610-9bc2-bfab6d4d3e11" providerId="ADAL" clId="{A51B066E-7055-4FD4-A838-6978105183AF}" dt="2021-09-23T07:14:29.301" v="317" actId="931"/>
          <ac:picMkLst>
            <pc:docMk/>
            <pc:sldMk cId="1696930645" sldId="443"/>
            <ac:picMk id="7" creationId="{F95B75F2-5C0E-4FBA-AA0B-68048FE21A1E}"/>
          </ac:picMkLst>
        </pc:picChg>
        <pc:picChg chg="add del mod">
          <ac:chgData name="Elliot RASCH" userId="2f4a8af0-b35f-4610-9bc2-bfab6d4d3e11" providerId="ADAL" clId="{A51B066E-7055-4FD4-A838-6978105183AF}" dt="2021-09-23T07:14:29.301" v="317" actId="931"/>
          <ac:picMkLst>
            <pc:docMk/>
            <pc:sldMk cId="1696930645" sldId="443"/>
            <ac:picMk id="9" creationId="{7564CC36-4C48-4841-81C9-EBE0E847D260}"/>
          </ac:picMkLst>
        </pc:picChg>
        <pc:picChg chg="add del mod">
          <ac:chgData name="Elliot RASCH" userId="2f4a8af0-b35f-4610-9bc2-bfab6d4d3e11" providerId="ADAL" clId="{A51B066E-7055-4FD4-A838-6978105183AF}" dt="2021-09-23T07:14:29.301" v="317" actId="931"/>
          <ac:picMkLst>
            <pc:docMk/>
            <pc:sldMk cId="1696930645" sldId="443"/>
            <ac:picMk id="11" creationId="{6F7D3749-8440-4FC2-A5D5-E25823DB3043}"/>
          </ac:picMkLst>
        </pc:picChg>
        <pc:picChg chg="add del mod">
          <ac:chgData name="Elliot RASCH" userId="2f4a8af0-b35f-4610-9bc2-bfab6d4d3e11" providerId="ADAL" clId="{A51B066E-7055-4FD4-A838-6978105183AF}" dt="2021-09-23T07:14:29.301" v="317" actId="931"/>
          <ac:picMkLst>
            <pc:docMk/>
            <pc:sldMk cId="1696930645" sldId="443"/>
            <ac:picMk id="19" creationId="{3FB1E1F1-7AD0-485C-8A73-95DEBD2BC278}"/>
          </ac:picMkLst>
        </pc:picChg>
        <pc:picChg chg="add del mod">
          <ac:chgData name="Elliot RASCH" userId="2f4a8af0-b35f-4610-9bc2-bfab6d4d3e11" providerId="ADAL" clId="{A51B066E-7055-4FD4-A838-6978105183AF}" dt="2021-09-23T07:14:29.301" v="317" actId="931"/>
          <ac:picMkLst>
            <pc:docMk/>
            <pc:sldMk cId="1696930645" sldId="443"/>
            <ac:picMk id="21" creationId="{240EB5F2-FD2D-4CFF-B126-629792F8229E}"/>
          </ac:picMkLst>
        </pc:picChg>
        <pc:picChg chg="add del mod">
          <ac:chgData name="Elliot RASCH" userId="2f4a8af0-b35f-4610-9bc2-bfab6d4d3e11" providerId="ADAL" clId="{A51B066E-7055-4FD4-A838-6978105183AF}" dt="2021-09-23T07:14:29.301" v="317" actId="931"/>
          <ac:picMkLst>
            <pc:docMk/>
            <pc:sldMk cId="1696930645" sldId="443"/>
            <ac:picMk id="23" creationId="{E0C191EC-539E-4C76-8940-48EC68308DA0}"/>
          </ac:picMkLst>
        </pc:picChg>
        <pc:picChg chg="add del mod">
          <ac:chgData name="Elliot RASCH" userId="2f4a8af0-b35f-4610-9bc2-bfab6d4d3e11" providerId="ADAL" clId="{A51B066E-7055-4FD4-A838-6978105183AF}" dt="2021-09-23T07:14:29.301" v="317" actId="931"/>
          <ac:picMkLst>
            <pc:docMk/>
            <pc:sldMk cId="1696930645" sldId="443"/>
            <ac:picMk id="30" creationId="{CCB60158-56F5-4FC3-9157-CFF68FCB51D7}"/>
          </ac:picMkLst>
        </pc:picChg>
        <pc:picChg chg="add del mod">
          <ac:chgData name="Elliot RASCH" userId="2f4a8af0-b35f-4610-9bc2-bfab6d4d3e11" providerId="ADAL" clId="{A51B066E-7055-4FD4-A838-6978105183AF}" dt="2021-09-23T07:14:29.301" v="317" actId="931"/>
          <ac:picMkLst>
            <pc:docMk/>
            <pc:sldMk cId="1696930645" sldId="443"/>
            <ac:picMk id="32" creationId="{595794EE-02AA-49BF-A201-F32E37FFB749}"/>
          </ac:picMkLst>
        </pc:picChg>
        <pc:picChg chg="add del mod">
          <ac:chgData name="Elliot RASCH" userId="2f4a8af0-b35f-4610-9bc2-bfab6d4d3e11" providerId="ADAL" clId="{A51B066E-7055-4FD4-A838-6978105183AF}" dt="2021-09-23T07:14:29.301" v="317" actId="931"/>
          <ac:picMkLst>
            <pc:docMk/>
            <pc:sldMk cId="1696930645" sldId="443"/>
            <ac:picMk id="34" creationId="{AADCC448-F12B-431F-B0EF-293767B46F30}"/>
          </ac:picMkLst>
        </pc:picChg>
        <pc:picChg chg="add del mod">
          <ac:chgData name="Elliot RASCH" userId="2f4a8af0-b35f-4610-9bc2-bfab6d4d3e11" providerId="ADAL" clId="{A51B066E-7055-4FD4-A838-6978105183AF}" dt="2021-09-23T07:14:29.301" v="317" actId="931"/>
          <ac:picMkLst>
            <pc:docMk/>
            <pc:sldMk cId="1696930645" sldId="443"/>
            <ac:picMk id="36" creationId="{E46181DE-5AD0-43BC-BDBC-57D7558D1BFC}"/>
          </ac:picMkLst>
        </pc:picChg>
        <pc:picChg chg="add del mod">
          <ac:chgData name="Elliot RASCH" userId="2f4a8af0-b35f-4610-9bc2-bfab6d4d3e11" providerId="ADAL" clId="{A51B066E-7055-4FD4-A838-6978105183AF}" dt="2021-09-23T07:14:29.301" v="317" actId="931"/>
          <ac:picMkLst>
            <pc:docMk/>
            <pc:sldMk cId="1696930645" sldId="443"/>
            <ac:picMk id="38" creationId="{BEEE7CA3-ABDF-42E5-A4BF-8E61D2FB3D9F}"/>
          </ac:picMkLst>
        </pc:picChg>
        <pc:picChg chg="add del mod">
          <ac:chgData name="Elliot RASCH" userId="2f4a8af0-b35f-4610-9bc2-bfab6d4d3e11" providerId="ADAL" clId="{A51B066E-7055-4FD4-A838-6978105183AF}" dt="2021-09-23T07:14:29.301" v="317" actId="931"/>
          <ac:picMkLst>
            <pc:docMk/>
            <pc:sldMk cId="1696930645" sldId="443"/>
            <ac:picMk id="40" creationId="{0F9D8AC5-3E67-4700-AE4B-CDE8E39CB6B9}"/>
          </ac:picMkLst>
        </pc:picChg>
        <pc:picChg chg="add del mod">
          <ac:chgData name="Elliot RASCH" userId="2f4a8af0-b35f-4610-9bc2-bfab6d4d3e11" providerId="ADAL" clId="{A51B066E-7055-4FD4-A838-6978105183AF}" dt="2021-09-23T07:14:29.301" v="317" actId="931"/>
          <ac:picMkLst>
            <pc:docMk/>
            <pc:sldMk cId="1696930645" sldId="443"/>
            <ac:picMk id="42" creationId="{D0D26FA1-F9F3-4E22-99B1-E114E5634735}"/>
          </ac:picMkLst>
        </pc:picChg>
        <pc:picChg chg="add mod modCrop">
          <ac:chgData name="Elliot RASCH" userId="2f4a8af0-b35f-4610-9bc2-bfab6d4d3e11" providerId="ADAL" clId="{A51B066E-7055-4FD4-A838-6978105183AF}" dt="2021-09-24T12:12:15.948" v="913" actId="164"/>
          <ac:picMkLst>
            <pc:docMk/>
            <pc:sldMk cId="1696930645" sldId="443"/>
            <ac:picMk id="44" creationId="{F01C60C4-3CA1-4002-9B3F-D46C60BDEF1B}"/>
          </ac:picMkLst>
        </pc:picChg>
        <pc:picChg chg="add mod modCrop">
          <ac:chgData name="Elliot RASCH" userId="2f4a8af0-b35f-4610-9bc2-bfab6d4d3e11" providerId="ADAL" clId="{A51B066E-7055-4FD4-A838-6978105183AF}" dt="2021-09-24T12:11:56.143" v="910" actId="164"/>
          <ac:picMkLst>
            <pc:docMk/>
            <pc:sldMk cId="1696930645" sldId="443"/>
            <ac:picMk id="46" creationId="{0A44BA85-978A-4FCC-B96C-F48C5D903914}"/>
          </ac:picMkLst>
        </pc:picChg>
        <pc:picChg chg="add del mod">
          <ac:chgData name="Elliot RASCH" userId="2f4a8af0-b35f-4610-9bc2-bfab6d4d3e11" providerId="ADAL" clId="{A51B066E-7055-4FD4-A838-6978105183AF}" dt="2021-09-23T07:14:57.290" v="339" actId="478"/>
          <ac:picMkLst>
            <pc:docMk/>
            <pc:sldMk cId="1696930645" sldId="443"/>
            <ac:picMk id="48" creationId="{7CE3C0F3-3E47-47A3-929A-0E3181BEEF34}"/>
          </ac:picMkLst>
        </pc:picChg>
        <pc:picChg chg="add mod ord modCrop">
          <ac:chgData name="Elliot RASCH" userId="2f4a8af0-b35f-4610-9bc2-bfab6d4d3e11" providerId="ADAL" clId="{A51B066E-7055-4FD4-A838-6978105183AF}" dt="2021-09-24T12:12:07.994" v="912" actId="164"/>
          <ac:picMkLst>
            <pc:docMk/>
            <pc:sldMk cId="1696930645" sldId="443"/>
            <ac:picMk id="50" creationId="{34516948-1CF7-44D8-9E7B-B0FD6FB54645}"/>
          </ac:picMkLst>
        </pc:picChg>
        <pc:picChg chg="add mod modCrop">
          <ac:chgData name="Elliot RASCH" userId="2f4a8af0-b35f-4610-9bc2-bfab6d4d3e11" providerId="ADAL" clId="{A51B066E-7055-4FD4-A838-6978105183AF}" dt="2021-09-24T12:12:07.994" v="912" actId="164"/>
          <ac:picMkLst>
            <pc:docMk/>
            <pc:sldMk cId="1696930645" sldId="443"/>
            <ac:picMk id="52" creationId="{BB78B82E-DC91-4AD5-949E-F15836E66C92}"/>
          </ac:picMkLst>
        </pc:picChg>
        <pc:picChg chg="add mod">
          <ac:chgData name="Elliot RASCH" userId="2f4a8af0-b35f-4610-9bc2-bfab6d4d3e11" providerId="ADAL" clId="{A51B066E-7055-4FD4-A838-6978105183AF}" dt="2021-09-24T12:12:15.948" v="913" actId="164"/>
          <ac:picMkLst>
            <pc:docMk/>
            <pc:sldMk cId="1696930645" sldId="443"/>
            <ac:picMk id="54" creationId="{92CA162F-D80E-4FC4-B212-F17B64CBFD1A}"/>
          </ac:picMkLst>
        </pc:picChg>
        <pc:picChg chg="add mod">
          <ac:chgData name="Elliot RASCH" userId="2f4a8af0-b35f-4610-9bc2-bfab6d4d3e11" providerId="ADAL" clId="{A51B066E-7055-4FD4-A838-6978105183AF}" dt="2021-09-23T07:22:14.674" v="464" actId="1076"/>
          <ac:picMkLst>
            <pc:docMk/>
            <pc:sldMk cId="1696930645" sldId="443"/>
            <ac:picMk id="56" creationId="{8DF3E83A-168D-42B9-84C1-4C073134D11A}"/>
          </ac:picMkLst>
        </pc:picChg>
        <pc:picChg chg="add mod">
          <ac:chgData name="Elliot RASCH" userId="2f4a8af0-b35f-4610-9bc2-bfab6d4d3e11" providerId="ADAL" clId="{A51B066E-7055-4FD4-A838-6978105183AF}" dt="2021-09-23T08:02:24.179" v="495" actId="14100"/>
          <ac:picMkLst>
            <pc:docMk/>
            <pc:sldMk cId="1696930645" sldId="443"/>
            <ac:picMk id="59" creationId="{C528F540-DA9A-413D-B204-EF9113606A35}"/>
          </ac:picMkLst>
        </pc:picChg>
      </pc:sldChg>
      <pc:sldChg chg="modSp add del mod ord">
        <pc:chgData name="Elliot RASCH" userId="2f4a8af0-b35f-4610-9bc2-bfab6d4d3e11" providerId="ADAL" clId="{A51B066E-7055-4FD4-A838-6978105183AF}" dt="2021-09-30T12:29:07.821" v="5632" actId="2696"/>
        <pc:sldMkLst>
          <pc:docMk/>
          <pc:sldMk cId="1407278403" sldId="444"/>
        </pc:sldMkLst>
        <pc:spChg chg="mod">
          <ac:chgData name="Elliot RASCH" userId="2f4a8af0-b35f-4610-9bc2-bfab6d4d3e11" providerId="ADAL" clId="{A51B066E-7055-4FD4-A838-6978105183AF}" dt="2021-09-24T12:13:42.095" v="927" actId="20577"/>
          <ac:spMkLst>
            <pc:docMk/>
            <pc:sldMk cId="1407278403" sldId="444"/>
            <ac:spMk id="20" creationId="{8EF46A30-CF12-A84B-852D-7C83DFBD1514}"/>
          </ac:spMkLst>
        </pc:spChg>
      </pc:sldChg>
      <pc:sldChg chg="addSp modSp mod">
        <pc:chgData name="Elliot RASCH" userId="2f4a8af0-b35f-4610-9bc2-bfab6d4d3e11" providerId="ADAL" clId="{A51B066E-7055-4FD4-A838-6978105183AF}" dt="2021-09-24T17:35:29.121" v="1259" actId="1036"/>
        <pc:sldMkLst>
          <pc:docMk/>
          <pc:sldMk cId="2954828508" sldId="445"/>
        </pc:sldMkLst>
        <pc:spChg chg="add mod">
          <ac:chgData name="Elliot RASCH" userId="2f4a8af0-b35f-4610-9bc2-bfab6d4d3e11" providerId="ADAL" clId="{A51B066E-7055-4FD4-A838-6978105183AF}" dt="2021-09-24T17:35:29.121" v="1259" actId="1036"/>
          <ac:spMkLst>
            <pc:docMk/>
            <pc:sldMk cId="2954828508" sldId="445"/>
            <ac:spMk id="2" creationId="{B551B9AB-1E21-4810-B81E-B9F3410C2B50}"/>
          </ac:spMkLst>
        </pc:spChg>
        <pc:spChg chg="mod">
          <ac:chgData name="Elliot RASCH" userId="2f4a8af0-b35f-4610-9bc2-bfab6d4d3e11" providerId="ADAL" clId="{A51B066E-7055-4FD4-A838-6978105183AF}" dt="2021-09-24T17:34:40.722" v="1230" actId="113"/>
          <ac:spMkLst>
            <pc:docMk/>
            <pc:sldMk cId="2954828508" sldId="445"/>
            <ac:spMk id="114" creationId="{00000000-0000-0000-0000-000000000000}"/>
          </ac:spMkLst>
        </pc:spChg>
      </pc:sldChg>
      <pc:sldChg chg="addSp modSp mod addCm modCm">
        <pc:chgData name="Elliot RASCH" userId="2f4a8af0-b35f-4610-9bc2-bfab6d4d3e11" providerId="ADAL" clId="{A51B066E-7055-4FD4-A838-6978105183AF}" dt="2021-09-29T15:17:17.057" v="4988" actId="732"/>
        <pc:sldMkLst>
          <pc:docMk/>
          <pc:sldMk cId="3097360702" sldId="446"/>
        </pc:sldMkLst>
        <pc:spChg chg="add mod">
          <ac:chgData name="Elliot RASCH" userId="2f4a8af0-b35f-4610-9bc2-bfab6d4d3e11" providerId="ADAL" clId="{A51B066E-7055-4FD4-A838-6978105183AF}" dt="2021-09-24T17:35:33.609" v="1260"/>
          <ac:spMkLst>
            <pc:docMk/>
            <pc:sldMk cId="3097360702" sldId="446"/>
            <ac:spMk id="5" creationId="{B79129AC-9C65-4AA0-A9CB-9139701B23AB}"/>
          </ac:spMkLst>
        </pc:spChg>
        <pc:picChg chg="mod modCrop">
          <ac:chgData name="Elliot RASCH" userId="2f4a8af0-b35f-4610-9bc2-bfab6d4d3e11" providerId="ADAL" clId="{A51B066E-7055-4FD4-A838-6978105183AF}" dt="2021-09-29T15:17:17.057" v="4988" actId="732"/>
          <ac:picMkLst>
            <pc:docMk/>
            <pc:sldMk cId="3097360702" sldId="446"/>
            <ac:picMk id="8" creationId="{39F9F39A-259B-4DBB-AA3C-8F184850BEE2}"/>
          </ac:picMkLst>
        </pc:picChg>
      </pc:sldChg>
      <pc:sldChg chg="addSp modSp mod addCm modCm">
        <pc:chgData name="Elliot RASCH" userId="2f4a8af0-b35f-4610-9bc2-bfab6d4d3e11" providerId="ADAL" clId="{A51B066E-7055-4FD4-A838-6978105183AF}" dt="2021-09-24T17:35:47.321" v="1270" actId="1038"/>
        <pc:sldMkLst>
          <pc:docMk/>
          <pc:sldMk cId="442029095" sldId="447"/>
        </pc:sldMkLst>
        <pc:spChg chg="add mod">
          <ac:chgData name="Elliot RASCH" userId="2f4a8af0-b35f-4610-9bc2-bfab6d4d3e11" providerId="ADAL" clId="{A51B066E-7055-4FD4-A838-6978105183AF}" dt="2021-09-24T17:35:47.321" v="1270" actId="1038"/>
          <ac:spMkLst>
            <pc:docMk/>
            <pc:sldMk cId="442029095" sldId="447"/>
            <ac:spMk id="8" creationId="{7C28AB8F-D69D-4D16-A3C7-C338D3547C02}"/>
          </ac:spMkLst>
        </pc:spChg>
        <pc:spChg chg="mod">
          <ac:chgData name="Elliot RASCH" userId="2f4a8af0-b35f-4610-9bc2-bfab6d4d3e11" providerId="ADAL" clId="{A51B066E-7055-4FD4-A838-6978105183AF}" dt="2021-09-24T17:35:43.700" v="1266" actId="113"/>
          <ac:spMkLst>
            <pc:docMk/>
            <pc:sldMk cId="442029095" sldId="447"/>
            <ac:spMk id="114" creationId="{00000000-0000-0000-0000-000000000000}"/>
          </ac:spMkLst>
        </pc:spChg>
      </pc:sldChg>
      <pc:sldChg chg="addSp delSp modSp mod addCm modCm">
        <pc:chgData name="Elliot RASCH" userId="2f4a8af0-b35f-4610-9bc2-bfab6d4d3e11" providerId="ADAL" clId="{A51B066E-7055-4FD4-A838-6978105183AF}" dt="2021-09-24T17:35:34.919" v="1261"/>
        <pc:sldMkLst>
          <pc:docMk/>
          <pc:sldMk cId="3442751515" sldId="448"/>
        </pc:sldMkLst>
        <pc:spChg chg="add del mod">
          <ac:chgData name="Elliot RASCH" userId="2f4a8af0-b35f-4610-9bc2-bfab6d4d3e11" providerId="ADAL" clId="{A51B066E-7055-4FD4-A838-6978105183AF}" dt="2021-09-23T15:16:40.549" v="842" actId="47"/>
          <ac:spMkLst>
            <pc:docMk/>
            <pc:sldMk cId="3442751515" sldId="448"/>
            <ac:spMk id="2" creationId="{FD9CF1B4-592C-48A6-BD85-F8CC24F267AF}"/>
          </ac:spMkLst>
        </pc:spChg>
        <pc:spChg chg="mod">
          <ac:chgData name="Elliot RASCH" userId="2f4a8af0-b35f-4610-9bc2-bfab6d4d3e11" providerId="ADAL" clId="{A51B066E-7055-4FD4-A838-6978105183AF}" dt="2021-09-23T15:04:39.516" v="743" actId="1036"/>
          <ac:spMkLst>
            <pc:docMk/>
            <pc:sldMk cId="3442751515" sldId="448"/>
            <ac:spMk id="5" creationId="{3024B1B4-A634-4C81-8FA8-0485B4E1D32E}"/>
          </ac:spMkLst>
        </pc:spChg>
        <pc:spChg chg="add mod">
          <ac:chgData name="Elliot RASCH" userId="2f4a8af0-b35f-4610-9bc2-bfab6d4d3e11" providerId="ADAL" clId="{A51B066E-7055-4FD4-A838-6978105183AF}" dt="2021-09-24T17:35:34.919" v="1261"/>
          <ac:spMkLst>
            <pc:docMk/>
            <pc:sldMk cId="3442751515" sldId="448"/>
            <ac:spMk id="7" creationId="{738F70D0-585C-4DED-B06C-5509A8257320}"/>
          </ac:spMkLst>
        </pc:spChg>
        <pc:picChg chg="mod modCrop">
          <ac:chgData name="Elliot RASCH" userId="2f4a8af0-b35f-4610-9bc2-bfab6d4d3e11" providerId="ADAL" clId="{A51B066E-7055-4FD4-A838-6978105183AF}" dt="2021-09-23T15:05:08.375" v="751" actId="208"/>
          <ac:picMkLst>
            <pc:docMk/>
            <pc:sldMk cId="3442751515" sldId="448"/>
            <ac:picMk id="4" creationId="{FCA9D11F-73C6-4768-B11F-ABFF10BAF293}"/>
          </ac:picMkLst>
        </pc:picChg>
      </pc:sldChg>
      <pc:sldChg chg="addSp modSp mod addCm modCm">
        <pc:chgData name="Elliot RASCH" userId="2f4a8af0-b35f-4610-9bc2-bfab6d4d3e11" providerId="ADAL" clId="{A51B066E-7055-4FD4-A838-6978105183AF}" dt="2021-09-24T17:35:55.139" v="1271"/>
        <pc:sldMkLst>
          <pc:docMk/>
          <pc:sldMk cId="1448747379" sldId="449"/>
        </pc:sldMkLst>
        <pc:spChg chg="add mod">
          <ac:chgData name="Elliot RASCH" userId="2f4a8af0-b35f-4610-9bc2-bfab6d4d3e11" providerId="ADAL" clId="{A51B066E-7055-4FD4-A838-6978105183AF}" dt="2021-09-24T17:35:55.139" v="1271"/>
          <ac:spMkLst>
            <pc:docMk/>
            <pc:sldMk cId="1448747379" sldId="449"/>
            <ac:spMk id="5" creationId="{DD3E190F-151E-47A9-8822-688691DC944C}"/>
          </ac:spMkLst>
        </pc:spChg>
        <pc:picChg chg="mod modCrop">
          <ac:chgData name="Elliot RASCH" userId="2f4a8af0-b35f-4610-9bc2-bfab6d4d3e11" providerId="ADAL" clId="{A51B066E-7055-4FD4-A838-6978105183AF}" dt="2021-09-23T15:02:47.644" v="730" actId="1076"/>
          <ac:picMkLst>
            <pc:docMk/>
            <pc:sldMk cId="1448747379" sldId="449"/>
            <ac:picMk id="3" creationId="{60E87BD4-A97F-41F6-94AB-0787FDC5B29D}"/>
          </ac:picMkLst>
        </pc:picChg>
      </pc:sldChg>
      <pc:sldChg chg="addSp modSp mod addCm modCm">
        <pc:chgData name="Elliot RASCH" userId="2f4a8af0-b35f-4610-9bc2-bfab6d4d3e11" providerId="ADAL" clId="{A51B066E-7055-4FD4-A838-6978105183AF}" dt="2021-09-24T17:35:57.740" v="1272"/>
        <pc:sldMkLst>
          <pc:docMk/>
          <pc:sldMk cId="193301995" sldId="450"/>
        </pc:sldMkLst>
        <pc:spChg chg="mod">
          <ac:chgData name="Elliot RASCH" userId="2f4a8af0-b35f-4610-9bc2-bfab6d4d3e11" providerId="ADAL" clId="{A51B066E-7055-4FD4-A838-6978105183AF}" dt="2021-09-23T14:50:00.332" v="667" actId="113"/>
          <ac:spMkLst>
            <pc:docMk/>
            <pc:sldMk cId="193301995" sldId="450"/>
            <ac:spMk id="5" creationId="{94712D0A-5F45-4D45-986E-D4B95CB75229}"/>
          </ac:spMkLst>
        </pc:spChg>
        <pc:spChg chg="add mod">
          <ac:chgData name="Elliot RASCH" userId="2f4a8af0-b35f-4610-9bc2-bfab6d4d3e11" providerId="ADAL" clId="{A51B066E-7055-4FD4-A838-6978105183AF}" dt="2021-09-24T17:35:57.740" v="1272"/>
          <ac:spMkLst>
            <pc:docMk/>
            <pc:sldMk cId="193301995" sldId="450"/>
            <ac:spMk id="7" creationId="{CF1BD038-A0C3-4DD7-B998-AF9587C455A8}"/>
          </ac:spMkLst>
        </pc:spChg>
      </pc:sldChg>
      <pc:sldChg chg="modSp mod">
        <pc:chgData name="Elliot RASCH" userId="2f4a8af0-b35f-4610-9bc2-bfab6d4d3e11" providerId="ADAL" clId="{A51B066E-7055-4FD4-A838-6978105183AF}" dt="2021-09-23T14:53:07.215" v="690" actId="12"/>
        <pc:sldMkLst>
          <pc:docMk/>
          <pc:sldMk cId="3025982423" sldId="451"/>
        </pc:sldMkLst>
        <pc:spChg chg="mod">
          <ac:chgData name="Elliot RASCH" userId="2f4a8af0-b35f-4610-9bc2-bfab6d4d3e11" providerId="ADAL" clId="{A51B066E-7055-4FD4-A838-6978105183AF}" dt="2021-09-23T14:53:07.215" v="690" actId="12"/>
          <ac:spMkLst>
            <pc:docMk/>
            <pc:sldMk cId="3025982423" sldId="451"/>
            <ac:spMk id="114" creationId="{00000000-0000-0000-0000-000000000000}"/>
          </ac:spMkLst>
        </pc:spChg>
      </pc:sldChg>
      <pc:sldChg chg="addSp delSp modSp mod modAnim addCm modCm modNotesTx">
        <pc:chgData name="Elliot RASCH" userId="2f4a8af0-b35f-4610-9bc2-bfab6d4d3e11" providerId="ADAL" clId="{A51B066E-7055-4FD4-A838-6978105183AF}" dt="2021-10-01T09:49:38.260" v="6301" actId="20577"/>
        <pc:sldMkLst>
          <pc:docMk/>
          <pc:sldMk cId="3500073032" sldId="452"/>
        </pc:sldMkLst>
        <pc:spChg chg="add mod">
          <ac:chgData name="Elliot RASCH" userId="2f4a8af0-b35f-4610-9bc2-bfab6d4d3e11" providerId="ADAL" clId="{A51B066E-7055-4FD4-A838-6978105183AF}" dt="2021-10-01T09:49:10.006" v="6290" actId="403"/>
          <ac:spMkLst>
            <pc:docMk/>
            <pc:sldMk cId="3500073032" sldId="452"/>
            <ac:spMk id="2" creationId="{3E2B16BF-D90E-4CAB-9297-C4D120D86C1A}"/>
          </ac:spMkLst>
        </pc:spChg>
        <pc:spChg chg="add del">
          <ac:chgData name="Elliot RASCH" userId="2f4a8af0-b35f-4610-9bc2-bfab6d4d3e11" providerId="ADAL" clId="{A51B066E-7055-4FD4-A838-6978105183AF}" dt="2021-10-01T08:35:36.860" v="5839"/>
          <ac:spMkLst>
            <pc:docMk/>
            <pc:sldMk cId="3500073032" sldId="452"/>
            <ac:spMk id="4" creationId="{2FF3DB17-D9EE-4A8F-916A-1996D66B15FD}"/>
          </ac:spMkLst>
        </pc:spChg>
        <pc:spChg chg="mod">
          <ac:chgData name="Elliot RASCH" userId="2f4a8af0-b35f-4610-9bc2-bfab6d4d3e11" providerId="ADAL" clId="{A51B066E-7055-4FD4-A838-6978105183AF}" dt="2021-10-01T09:49:38.260" v="6301" actId="20577"/>
          <ac:spMkLst>
            <pc:docMk/>
            <pc:sldMk cId="3500073032" sldId="452"/>
            <ac:spMk id="5" creationId="{6818AF18-CBB6-427B-A3E2-C96167856BB9}"/>
          </ac:spMkLst>
        </pc:spChg>
        <pc:spChg chg="add mod">
          <ac:chgData name="Elliot RASCH" userId="2f4a8af0-b35f-4610-9bc2-bfab6d4d3e11" providerId="ADAL" clId="{A51B066E-7055-4FD4-A838-6978105183AF}" dt="2021-10-01T09:43:23.838" v="6255" actId="571"/>
          <ac:spMkLst>
            <pc:docMk/>
            <pc:sldMk cId="3500073032" sldId="452"/>
            <ac:spMk id="10" creationId="{C16CBF64-3E20-4DE1-8B28-78EA2D7342CA}"/>
          </ac:spMkLst>
        </pc:spChg>
        <pc:spChg chg="add mod">
          <ac:chgData name="Elliot RASCH" userId="2f4a8af0-b35f-4610-9bc2-bfab6d4d3e11" providerId="ADAL" clId="{A51B066E-7055-4FD4-A838-6978105183AF}" dt="2021-10-01T09:49:23.779" v="6295" actId="1036"/>
          <ac:spMkLst>
            <pc:docMk/>
            <pc:sldMk cId="3500073032" sldId="452"/>
            <ac:spMk id="13" creationId="{ECB5F9D2-5E2E-48F3-A835-C287D53FD216}"/>
          </ac:spMkLst>
        </pc:spChg>
        <pc:spChg chg="mod">
          <ac:chgData name="Elliot RASCH" userId="2f4a8af0-b35f-4610-9bc2-bfab6d4d3e11" providerId="ADAL" clId="{A51B066E-7055-4FD4-A838-6978105183AF}" dt="2021-09-23T15:12:50.895" v="794" actId="20577"/>
          <ac:spMkLst>
            <pc:docMk/>
            <pc:sldMk cId="3500073032" sldId="452"/>
            <ac:spMk id="114" creationId="{00000000-0000-0000-0000-000000000000}"/>
          </ac:spMkLst>
        </pc:spChg>
        <pc:picChg chg="add mod">
          <ac:chgData name="Elliot RASCH" userId="2f4a8af0-b35f-4610-9bc2-bfab6d4d3e11" providerId="ADAL" clId="{A51B066E-7055-4FD4-A838-6978105183AF}" dt="2021-10-01T09:43:12.586" v="6253" actId="14100"/>
          <ac:picMkLst>
            <pc:docMk/>
            <pc:sldMk cId="3500073032" sldId="452"/>
            <ac:picMk id="8" creationId="{B998C903-BC62-4FF1-BD61-1421B3E22084}"/>
          </ac:picMkLst>
        </pc:picChg>
        <pc:picChg chg="add mod">
          <ac:chgData name="Elliot RASCH" userId="2f4a8af0-b35f-4610-9bc2-bfab6d4d3e11" providerId="ADAL" clId="{A51B066E-7055-4FD4-A838-6978105183AF}" dt="2021-10-01T09:43:23.838" v="6255" actId="571"/>
          <ac:picMkLst>
            <pc:docMk/>
            <pc:sldMk cId="3500073032" sldId="452"/>
            <ac:picMk id="11" creationId="{9F09A2F4-ED23-4329-88A5-B62BE97B1CDA}"/>
          </ac:picMkLst>
        </pc:picChg>
      </pc:sldChg>
      <pc:sldChg chg="modSp mod">
        <pc:chgData name="Elliot RASCH" userId="2f4a8af0-b35f-4610-9bc2-bfab6d4d3e11" providerId="ADAL" clId="{A51B066E-7055-4FD4-A838-6978105183AF}" dt="2021-09-23T15:13:12.745" v="795" actId="113"/>
        <pc:sldMkLst>
          <pc:docMk/>
          <pc:sldMk cId="2166528375" sldId="453"/>
        </pc:sldMkLst>
        <pc:spChg chg="mod">
          <ac:chgData name="Elliot RASCH" userId="2f4a8af0-b35f-4610-9bc2-bfab6d4d3e11" providerId="ADAL" clId="{A51B066E-7055-4FD4-A838-6978105183AF}" dt="2021-09-23T15:13:12.745" v="795" actId="113"/>
          <ac:spMkLst>
            <pc:docMk/>
            <pc:sldMk cId="2166528375" sldId="453"/>
            <ac:spMk id="114" creationId="{00000000-0000-0000-0000-000000000000}"/>
          </ac:spMkLst>
        </pc:spChg>
      </pc:sldChg>
      <pc:sldChg chg="addSp modSp mod">
        <pc:chgData name="Elliot RASCH" userId="2f4a8af0-b35f-4610-9bc2-bfab6d4d3e11" providerId="ADAL" clId="{A51B066E-7055-4FD4-A838-6978105183AF}" dt="2021-09-24T17:37:29.119" v="1307" actId="113"/>
        <pc:sldMkLst>
          <pc:docMk/>
          <pc:sldMk cId="4243027577" sldId="455"/>
        </pc:sldMkLst>
        <pc:spChg chg="mod">
          <ac:chgData name="Elliot RASCH" userId="2f4a8af0-b35f-4610-9bc2-bfab6d4d3e11" providerId="ADAL" clId="{A51B066E-7055-4FD4-A838-6978105183AF}" dt="2021-09-24T17:37:29.119" v="1307" actId="113"/>
          <ac:spMkLst>
            <pc:docMk/>
            <pc:sldMk cId="4243027577" sldId="455"/>
            <ac:spMk id="3" creationId="{F6CB3262-FA56-424F-B9B0-C328E8699275}"/>
          </ac:spMkLst>
        </pc:spChg>
        <pc:spChg chg="add mod">
          <ac:chgData name="Elliot RASCH" userId="2f4a8af0-b35f-4610-9bc2-bfab6d4d3e11" providerId="ADAL" clId="{A51B066E-7055-4FD4-A838-6978105183AF}" dt="2021-09-24T17:37:14.990" v="1294" actId="20577"/>
          <ac:spMkLst>
            <pc:docMk/>
            <pc:sldMk cId="4243027577" sldId="455"/>
            <ac:spMk id="6" creationId="{79756217-305A-44C8-ABF0-AF0552F8962F}"/>
          </ac:spMkLst>
        </pc:spChg>
        <pc:picChg chg="mod">
          <ac:chgData name="Elliot RASCH" userId="2f4a8af0-b35f-4610-9bc2-bfab6d4d3e11" providerId="ADAL" clId="{A51B066E-7055-4FD4-A838-6978105183AF}" dt="2021-09-23T15:16:40.065" v="841" actId="1076"/>
          <ac:picMkLst>
            <pc:docMk/>
            <pc:sldMk cId="4243027577" sldId="455"/>
            <ac:picMk id="5" creationId="{864C53E8-622F-40F9-A0DB-7D703CB36838}"/>
          </ac:picMkLst>
        </pc:picChg>
        <pc:picChg chg="mod modCrop">
          <ac:chgData name="Elliot RASCH" userId="2f4a8af0-b35f-4610-9bc2-bfab6d4d3e11" providerId="ADAL" clId="{A51B066E-7055-4FD4-A838-6978105183AF}" dt="2021-09-23T15:03:10.901" v="737" actId="1076"/>
          <ac:picMkLst>
            <pc:docMk/>
            <pc:sldMk cId="4243027577" sldId="455"/>
            <ac:picMk id="7" creationId="{18BC8791-FE13-4327-A8B3-260CD98C0F21}"/>
          </ac:picMkLst>
        </pc:picChg>
      </pc:sldChg>
      <pc:sldChg chg="addSp delSp modSp mod setBg">
        <pc:chgData name="Elliot RASCH" userId="2f4a8af0-b35f-4610-9bc2-bfab6d4d3e11" providerId="ADAL" clId="{A51B066E-7055-4FD4-A838-6978105183AF}" dt="2021-09-23T15:23:30.846" v="905" actId="26606"/>
        <pc:sldMkLst>
          <pc:docMk/>
          <pc:sldMk cId="1285360962" sldId="456"/>
        </pc:sldMkLst>
        <pc:spChg chg="mod">
          <ac:chgData name="Elliot RASCH" userId="2f4a8af0-b35f-4610-9bc2-bfab6d4d3e11" providerId="ADAL" clId="{A51B066E-7055-4FD4-A838-6978105183AF}" dt="2021-09-23T15:23:30.846" v="905" actId="26606"/>
          <ac:spMkLst>
            <pc:docMk/>
            <pc:sldMk cId="1285360962" sldId="456"/>
            <ac:spMk id="6" creationId="{5E20247E-8AE2-9546-88DF-24BBEFC7E0A2}"/>
          </ac:spMkLst>
        </pc:spChg>
        <pc:spChg chg="mod">
          <ac:chgData name="Elliot RASCH" userId="2f4a8af0-b35f-4610-9bc2-bfab6d4d3e11" providerId="ADAL" clId="{A51B066E-7055-4FD4-A838-6978105183AF}" dt="2021-09-23T15:23:30.846" v="905" actId="26606"/>
          <ac:spMkLst>
            <pc:docMk/>
            <pc:sldMk cId="1285360962" sldId="456"/>
            <ac:spMk id="7" creationId="{A101FB49-5A92-48E9-ADBC-04CD4EC6B08C}"/>
          </ac:spMkLst>
        </pc:spChg>
        <pc:spChg chg="add">
          <ac:chgData name="Elliot RASCH" userId="2f4a8af0-b35f-4610-9bc2-bfab6d4d3e11" providerId="ADAL" clId="{A51B066E-7055-4FD4-A838-6978105183AF}" dt="2021-09-23T15:23:30.846" v="905" actId="26606"/>
          <ac:spMkLst>
            <pc:docMk/>
            <pc:sldMk cId="1285360962" sldId="456"/>
            <ac:spMk id="19" creationId="{04812C46-200A-4DEB-A05E-3ED6C68C2387}"/>
          </ac:spMkLst>
        </pc:spChg>
        <pc:spChg chg="add">
          <ac:chgData name="Elliot RASCH" userId="2f4a8af0-b35f-4610-9bc2-bfab6d4d3e11" providerId="ADAL" clId="{A51B066E-7055-4FD4-A838-6978105183AF}" dt="2021-09-23T15:23:30.846" v="905" actId="26606"/>
          <ac:spMkLst>
            <pc:docMk/>
            <pc:sldMk cId="1285360962" sldId="456"/>
            <ac:spMk id="21" creationId="{D1EA859B-E555-4109-94F3-6700E046E008}"/>
          </ac:spMkLst>
        </pc:spChg>
        <pc:picChg chg="add del mod modCrop">
          <ac:chgData name="Elliot RASCH" userId="2f4a8af0-b35f-4610-9bc2-bfab6d4d3e11" providerId="ADAL" clId="{A51B066E-7055-4FD4-A838-6978105183AF}" dt="2021-09-23T15:21:31.297" v="903" actId="478"/>
          <ac:picMkLst>
            <pc:docMk/>
            <pc:sldMk cId="1285360962" sldId="456"/>
            <ac:picMk id="2" creationId="{D6FF7E23-9F97-4E10-A5CC-2AC38BE7BD20}"/>
          </ac:picMkLst>
        </pc:picChg>
        <pc:picChg chg="del mod modCrop">
          <ac:chgData name="Elliot RASCH" userId="2f4a8af0-b35f-4610-9bc2-bfab6d4d3e11" providerId="ADAL" clId="{A51B066E-7055-4FD4-A838-6978105183AF}" dt="2021-09-23T15:19:37.937" v="862" actId="21"/>
          <ac:picMkLst>
            <pc:docMk/>
            <pc:sldMk cId="1285360962" sldId="456"/>
            <ac:picMk id="5" creationId="{74164F5F-42B9-449D-B9A6-B2A53A4F4FFC}"/>
          </ac:picMkLst>
        </pc:picChg>
        <pc:picChg chg="add del mod">
          <ac:chgData name="Elliot RASCH" userId="2f4a8af0-b35f-4610-9bc2-bfab6d4d3e11" providerId="ADAL" clId="{A51B066E-7055-4FD4-A838-6978105183AF}" dt="2021-09-23T15:19:53.725" v="866"/>
          <ac:picMkLst>
            <pc:docMk/>
            <pc:sldMk cId="1285360962" sldId="456"/>
            <ac:picMk id="8" creationId="{66C351DD-AC44-4B2A-AE43-0664C2CE4FCE}"/>
          </ac:picMkLst>
        </pc:picChg>
        <pc:picChg chg="add del mod">
          <ac:chgData name="Elliot RASCH" userId="2f4a8af0-b35f-4610-9bc2-bfab6d4d3e11" providerId="ADAL" clId="{A51B066E-7055-4FD4-A838-6978105183AF}" dt="2021-09-23T15:19:55.185" v="868"/>
          <ac:picMkLst>
            <pc:docMk/>
            <pc:sldMk cId="1285360962" sldId="456"/>
            <ac:picMk id="9" creationId="{68FB64E5-776F-404E-AAD5-5A2A3991699C}"/>
          </ac:picMkLst>
        </pc:picChg>
        <pc:picChg chg="add del mod">
          <ac:chgData name="Elliot RASCH" userId="2f4a8af0-b35f-4610-9bc2-bfab6d4d3e11" providerId="ADAL" clId="{A51B066E-7055-4FD4-A838-6978105183AF}" dt="2021-09-23T15:20:02.782" v="874"/>
          <ac:picMkLst>
            <pc:docMk/>
            <pc:sldMk cId="1285360962" sldId="456"/>
            <ac:picMk id="10" creationId="{EC9CB50A-6522-49DC-84D8-8A0571567D34}"/>
          </ac:picMkLst>
        </pc:picChg>
        <pc:picChg chg="add del mod">
          <ac:chgData name="Elliot RASCH" userId="2f4a8af0-b35f-4610-9bc2-bfab6d4d3e11" providerId="ADAL" clId="{A51B066E-7055-4FD4-A838-6978105183AF}" dt="2021-09-23T15:19:59.071" v="871"/>
          <ac:picMkLst>
            <pc:docMk/>
            <pc:sldMk cId="1285360962" sldId="456"/>
            <ac:picMk id="11" creationId="{21568EF8-AEE5-4123-8993-B360A4D0052A}"/>
          </ac:picMkLst>
        </pc:picChg>
        <pc:picChg chg="add del mod">
          <ac:chgData name="Elliot RASCH" userId="2f4a8af0-b35f-4610-9bc2-bfab6d4d3e11" providerId="ADAL" clId="{A51B066E-7055-4FD4-A838-6978105183AF}" dt="2021-09-23T15:20:02.350" v="873"/>
          <ac:picMkLst>
            <pc:docMk/>
            <pc:sldMk cId="1285360962" sldId="456"/>
            <ac:picMk id="12" creationId="{EEFF1150-2D79-45D8-9C4F-E84B048E3E93}"/>
          </ac:picMkLst>
        </pc:picChg>
        <pc:picChg chg="add del mod">
          <ac:chgData name="Elliot RASCH" userId="2f4a8af0-b35f-4610-9bc2-bfab6d4d3e11" providerId="ADAL" clId="{A51B066E-7055-4FD4-A838-6978105183AF}" dt="2021-09-23T15:20:07.835" v="878"/>
          <ac:picMkLst>
            <pc:docMk/>
            <pc:sldMk cId="1285360962" sldId="456"/>
            <ac:picMk id="13" creationId="{2B816BE1-0C23-4F33-A7EC-DD7DC795202F}"/>
          </ac:picMkLst>
        </pc:picChg>
        <pc:picChg chg="add mod ord">
          <ac:chgData name="Elliot RASCH" userId="2f4a8af0-b35f-4610-9bc2-bfab6d4d3e11" providerId="ADAL" clId="{A51B066E-7055-4FD4-A838-6978105183AF}" dt="2021-09-23T15:23:30.846" v="905" actId="26606"/>
          <ac:picMkLst>
            <pc:docMk/>
            <pc:sldMk cId="1285360962" sldId="456"/>
            <ac:picMk id="14" creationId="{4123C576-4349-419A-88F5-D475D2F10ADC}"/>
          </ac:picMkLst>
        </pc:picChg>
      </pc:sldChg>
      <pc:sldChg chg="modSp mod modAnim">
        <pc:chgData name="Elliot RASCH" userId="2f4a8af0-b35f-4610-9bc2-bfab6d4d3e11" providerId="ADAL" clId="{A51B066E-7055-4FD4-A838-6978105183AF}" dt="2021-09-24T18:31:09.484" v="1831" actId="1076"/>
        <pc:sldMkLst>
          <pc:docMk/>
          <pc:sldMk cId="3361285994" sldId="457"/>
        </pc:sldMkLst>
        <pc:spChg chg="mod">
          <ac:chgData name="Elliot RASCH" userId="2f4a8af0-b35f-4610-9bc2-bfab6d4d3e11" providerId="ADAL" clId="{A51B066E-7055-4FD4-A838-6978105183AF}" dt="2021-09-24T18:31:09.484" v="1831" actId="1076"/>
          <ac:spMkLst>
            <pc:docMk/>
            <pc:sldMk cId="3361285994" sldId="457"/>
            <ac:spMk id="4" creationId="{3EDD771F-A26A-4179-B4A7-2335788933CC}"/>
          </ac:spMkLst>
        </pc:spChg>
      </pc:sldChg>
      <pc:sldChg chg="modSp">
        <pc:chgData name="Elliot RASCH" userId="2f4a8af0-b35f-4610-9bc2-bfab6d4d3e11" providerId="ADAL" clId="{A51B066E-7055-4FD4-A838-6978105183AF}" dt="2021-09-24T17:51:12.253" v="1313" actId="20577"/>
        <pc:sldMkLst>
          <pc:docMk/>
          <pc:sldMk cId="1926376704" sldId="458"/>
        </pc:sldMkLst>
        <pc:spChg chg="mod">
          <ac:chgData name="Elliot RASCH" userId="2f4a8af0-b35f-4610-9bc2-bfab6d4d3e11" providerId="ADAL" clId="{A51B066E-7055-4FD4-A838-6978105183AF}" dt="2021-09-24T17:51:12.253" v="1313" actId="20577"/>
          <ac:spMkLst>
            <pc:docMk/>
            <pc:sldMk cId="1926376704" sldId="458"/>
            <ac:spMk id="4" creationId="{0C8FBDDC-A571-427E-B22F-6A2A37C238C1}"/>
          </ac:spMkLst>
        </pc:spChg>
      </pc:sldChg>
      <pc:sldChg chg="modSp">
        <pc:chgData name="Elliot RASCH" userId="2f4a8af0-b35f-4610-9bc2-bfab6d4d3e11" providerId="ADAL" clId="{A51B066E-7055-4FD4-A838-6978105183AF}" dt="2021-09-24T12:10:56.980" v="907" actId="1076"/>
        <pc:sldMkLst>
          <pc:docMk/>
          <pc:sldMk cId="1906424831" sldId="459"/>
        </pc:sldMkLst>
        <pc:picChg chg="mod">
          <ac:chgData name="Elliot RASCH" userId="2f4a8af0-b35f-4610-9bc2-bfab6d4d3e11" providerId="ADAL" clId="{A51B066E-7055-4FD4-A838-6978105183AF}" dt="2021-09-24T12:10:56.980" v="907" actId="1076"/>
          <ac:picMkLst>
            <pc:docMk/>
            <pc:sldMk cId="1906424831" sldId="459"/>
            <ac:picMk id="10" creationId="{013EEE5D-B5B2-418E-A72A-8B73E1E06756}"/>
          </ac:picMkLst>
        </pc:picChg>
      </pc:sldChg>
      <pc:sldChg chg="modSp mod">
        <pc:chgData name="Elliot RASCH" userId="2f4a8af0-b35f-4610-9bc2-bfab6d4d3e11" providerId="ADAL" clId="{A51B066E-7055-4FD4-A838-6978105183AF}" dt="2021-09-29T16:09:50.237" v="5604" actId="1076"/>
        <pc:sldMkLst>
          <pc:docMk/>
          <pc:sldMk cId="315501203" sldId="460"/>
        </pc:sldMkLst>
        <pc:picChg chg="mod">
          <ac:chgData name="Elliot RASCH" userId="2f4a8af0-b35f-4610-9bc2-bfab6d4d3e11" providerId="ADAL" clId="{A51B066E-7055-4FD4-A838-6978105183AF}" dt="2021-09-29T16:09:49.352" v="5603" actId="1076"/>
          <ac:picMkLst>
            <pc:docMk/>
            <pc:sldMk cId="315501203" sldId="460"/>
            <ac:picMk id="4" creationId="{AB3F4BE8-BA05-4E90-8BA6-4F9733A4E9BC}"/>
          </ac:picMkLst>
        </pc:picChg>
        <pc:picChg chg="mod">
          <ac:chgData name="Elliot RASCH" userId="2f4a8af0-b35f-4610-9bc2-bfab6d4d3e11" providerId="ADAL" clId="{A51B066E-7055-4FD4-A838-6978105183AF}" dt="2021-09-29T16:09:50.237" v="5604" actId="1076"/>
          <ac:picMkLst>
            <pc:docMk/>
            <pc:sldMk cId="315501203" sldId="460"/>
            <ac:picMk id="5" creationId="{BE50C9B2-2BA7-4EC1-AD68-F581DA359C25}"/>
          </ac:picMkLst>
        </pc:picChg>
        <pc:picChg chg="mod">
          <ac:chgData name="Elliot RASCH" userId="2f4a8af0-b35f-4610-9bc2-bfab6d4d3e11" providerId="ADAL" clId="{A51B066E-7055-4FD4-A838-6978105183AF}" dt="2021-09-29T16:08:38.175" v="5598" actId="1076"/>
          <ac:picMkLst>
            <pc:docMk/>
            <pc:sldMk cId="315501203" sldId="460"/>
            <ac:picMk id="7" creationId="{5B59B884-27AE-410E-AB5B-D05EC79061CD}"/>
          </ac:picMkLst>
        </pc:picChg>
      </pc:sldChg>
      <pc:sldChg chg="addSp delSp modSp add mod ord modShow modNotesTx">
        <pc:chgData name="Elliot RASCH" userId="2f4a8af0-b35f-4610-9bc2-bfab6d4d3e11" providerId="ADAL" clId="{A51B066E-7055-4FD4-A838-6978105183AF}" dt="2021-10-04T08:05:05.988" v="9557" actId="20577"/>
        <pc:sldMkLst>
          <pc:docMk/>
          <pc:sldMk cId="344247155" sldId="461"/>
        </pc:sldMkLst>
        <pc:spChg chg="add del mod">
          <ac:chgData name="Elliot RASCH" userId="2f4a8af0-b35f-4610-9bc2-bfab6d4d3e11" providerId="ADAL" clId="{A51B066E-7055-4FD4-A838-6978105183AF}" dt="2021-09-25T15:22:56.785" v="1901" actId="478"/>
          <ac:spMkLst>
            <pc:docMk/>
            <pc:sldMk cId="344247155" sldId="461"/>
            <ac:spMk id="2" creationId="{74A981A8-FA8A-7D4B-9AB1-561FEED59B0A}"/>
          </ac:spMkLst>
        </pc:spChg>
        <pc:spChg chg="del mod">
          <ac:chgData name="Elliot RASCH" userId="2f4a8af0-b35f-4610-9bc2-bfab6d4d3e11" providerId="ADAL" clId="{A51B066E-7055-4FD4-A838-6978105183AF}" dt="2021-10-01T14:31:44.132" v="8704" actId="478"/>
          <ac:spMkLst>
            <pc:docMk/>
            <pc:sldMk cId="344247155" sldId="461"/>
            <ac:spMk id="3" creationId="{9ECA9384-630B-964B-B616-2E32DF2B2F2B}"/>
          </ac:spMkLst>
        </pc:spChg>
        <pc:spChg chg="del mod">
          <ac:chgData name="Elliot RASCH" userId="2f4a8af0-b35f-4610-9bc2-bfab6d4d3e11" providerId="ADAL" clId="{A51B066E-7055-4FD4-A838-6978105183AF}" dt="2021-09-25T15:37:03.204" v="2103" actId="478"/>
          <ac:spMkLst>
            <pc:docMk/>
            <pc:sldMk cId="344247155" sldId="461"/>
            <ac:spMk id="4" creationId="{ED770FA5-BC1F-DA4E-A69E-3B4F2179747E}"/>
          </ac:spMkLst>
        </pc:spChg>
        <pc:spChg chg="del">
          <ac:chgData name="Elliot RASCH" userId="2f4a8af0-b35f-4610-9bc2-bfab6d4d3e11" providerId="ADAL" clId="{A51B066E-7055-4FD4-A838-6978105183AF}" dt="2021-09-25T15:29:07.214" v="1998" actId="478"/>
          <ac:spMkLst>
            <pc:docMk/>
            <pc:sldMk cId="344247155" sldId="461"/>
            <ac:spMk id="5" creationId="{5F402C8D-84A6-B04E-A24B-71F9C519225C}"/>
          </ac:spMkLst>
        </pc:spChg>
        <pc:spChg chg="add mod">
          <ac:chgData name="Elliot RASCH" userId="2f4a8af0-b35f-4610-9bc2-bfab6d4d3e11" providerId="ADAL" clId="{A51B066E-7055-4FD4-A838-6978105183AF}" dt="2021-10-01T14:32:47.854" v="8745" actId="20577"/>
          <ac:spMkLst>
            <pc:docMk/>
            <pc:sldMk cId="344247155" sldId="461"/>
            <ac:spMk id="6" creationId="{4063E0E6-B684-451F-9A13-AEB37A3B099D}"/>
          </ac:spMkLst>
        </pc:spChg>
        <pc:spChg chg="del">
          <ac:chgData name="Elliot RASCH" userId="2f4a8af0-b35f-4610-9bc2-bfab6d4d3e11" providerId="ADAL" clId="{A51B066E-7055-4FD4-A838-6978105183AF}" dt="2021-09-24T12:15:37.364" v="993" actId="478"/>
          <ac:spMkLst>
            <pc:docMk/>
            <pc:sldMk cId="344247155" sldId="461"/>
            <ac:spMk id="6" creationId="{E82B83AF-868F-3F44-A1D4-15B6AAA9C919}"/>
          </ac:spMkLst>
        </pc:spChg>
        <pc:spChg chg="mod">
          <ac:chgData name="Elliot RASCH" userId="2f4a8af0-b35f-4610-9bc2-bfab6d4d3e11" providerId="ADAL" clId="{A51B066E-7055-4FD4-A838-6978105183AF}" dt="2021-09-25T15:36:52.003" v="2091" actId="1076"/>
          <ac:spMkLst>
            <pc:docMk/>
            <pc:sldMk cId="344247155" sldId="461"/>
            <ac:spMk id="7" creationId="{05D1B5EE-240F-814A-AF5F-859388321503}"/>
          </ac:spMkLst>
        </pc:spChg>
        <pc:spChg chg="del mod">
          <ac:chgData name="Elliot RASCH" userId="2f4a8af0-b35f-4610-9bc2-bfab6d4d3e11" providerId="ADAL" clId="{A51B066E-7055-4FD4-A838-6978105183AF}" dt="2021-09-25T15:26:48.747" v="1954" actId="478"/>
          <ac:spMkLst>
            <pc:docMk/>
            <pc:sldMk cId="344247155" sldId="461"/>
            <ac:spMk id="8" creationId="{377F74DA-B234-C248-9E36-1EC6783A2431}"/>
          </ac:spMkLst>
        </pc:spChg>
        <pc:spChg chg="del mod">
          <ac:chgData name="Elliot RASCH" userId="2f4a8af0-b35f-4610-9bc2-bfab6d4d3e11" providerId="ADAL" clId="{A51B066E-7055-4FD4-A838-6978105183AF}" dt="2021-09-25T15:35:18.284" v="2053" actId="478"/>
          <ac:spMkLst>
            <pc:docMk/>
            <pc:sldMk cId="344247155" sldId="461"/>
            <ac:spMk id="9" creationId="{9BEE47F5-DDB2-AC4E-B13C-D783A97C3D85}"/>
          </ac:spMkLst>
        </pc:spChg>
        <pc:spChg chg="del">
          <ac:chgData name="Elliot RASCH" userId="2f4a8af0-b35f-4610-9bc2-bfab6d4d3e11" providerId="ADAL" clId="{A51B066E-7055-4FD4-A838-6978105183AF}" dt="2021-09-24T12:16:04.633" v="1007" actId="478"/>
          <ac:spMkLst>
            <pc:docMk/>
            <pc:sldMk cId="344247155" sldId="461"/>
            <ac:spMk id="10" creationId="{6B75E6AB-7A26-F145-B4C8-8888C90E51C4}"/>
          </ac:spMkLst>
        </pc:spChg>
        <pc:spChg chg="del mod">
          <ac:chgData name="Elliot RASCH" userId="2f4a8af0-b35f-4610-9bc2-bfab6d4d3e11" providerId="ADAL" clId="{A51B066E-7055-4FD4-A838-6978105183AF}" dt="2021-09-24T12:15:39.853" v="995" actId="478"/>
          <ac:spMkLst>
            <pc:docMk/>
            <pc:sldMk cId="344247155" sldId="461"/>
            <ac:spMk id="11" creationId="{051523BB-0D5B-3F4C-A795-19C140498BD7}"/>
          </ac:spMkLst>
        </pc:spChg>
        <pc:spChg chg="del">
          <ac:chgData name="Elliot RASCH" userId="2f4a8af0-b35f-4610-9bc2-bfab6d4d3e11" providerId="ADAL" clId="{A51B066E-7055-4FD4-A838-6978105183AF}" dt="2021-09-25T15:22:53.878" v="1898" actId="478"/>
          <ac:spMkLst>
            <pc:docMk/>
            <pc:sldMk cId="344247155" sldId="461"/>
            <ac:spMk id="12" creationId="{7BCA4AF1-507C-CF4B-8BE5-4BC049E95C63}"/>
          </ac:spMkLst>
        </pc:spChg>
        <pc:spChg chg="del">
          <ac:chgData name="Elliot RASCH" userId="2f4a8af0-b35f-4610-9bc2-bfab6d4d3e11" providerId="ADAL" clId="{A51B066E-7055-4FD4-A838-6978105183AF}" dt="2021-09-25T15:22:54.679" v="1899" actId="478"/>
          <ac:spMkLst>
            <pc:docMk/>
            <pc:sldMk cId="344247155" sldId="461"/>
            <ac:spMk id="13" creationId="{6EB46D78-1889-1C43-8DC6-6479F2320F28}"/>
          </ac:spMkLst>
        </pc:spChg>
        <pc:spChg chg="mod">
          <ac:chgData name="Elliot RASCH" userId="2f4a8af0-b35f-4610-9bc2-bfab6d4d3e11" providerId="ADAL" clId="{A51B066E-7055-4FD4-A838-6978105183AF}" dt="2021-10-01T09:27:40.393" v="6215" actId="20577"/>
          <ac:spMkLst>
            <pc:docMk/>
            <pc:sldMk cId="344247155" sldId="461"/>
            <ac:spMk id="14" creationId="{ADE24960-3DC1-4F40-8705-D09E167A0C53}"/>
          </ac:spMkLst>
        </pc:spChg>
        <pc:spChg chg="mod">
          <ac:chgData name="Elliot RASCH" userId="2f4a8af0-b35f-4610-9bc2-bfab6d4d3e11" providerId="ADAL" clId="{A51B066E-7055-4FD4-A838-6978105183AF}" dt="2021-09-24T12:14:54.133" v="969" actId="20577"/>
          <ac:spMkLst>
            <pc:docMk/>
            <pc:sldMk cId="344247155" sldId="461"/>
            <ac:spMk id="15" creationId="{876AB4B5-129A-7F43-9340-1BAF49B9B459}"/>
          </ac:spMkLst>
        </pc:spChg>
        <pc:spChg chg="add del mod">
          <ac:chgData name="Elliot RASCH" userId="2f4a8af0-b35f-4610-9bc2-bfab6d4d3e11" providerId="ADAL" clId="{A51B066E-7055-4FD4-A838-6978105183AF}" dt="2021-09-24T12:14:42.695" v="930"/>
          <ac:spMkLst>
            <pc:docMk/>
            <pc:sldMk cId="344247155" sldId="461"/>
            <ac:spMk id="16" creationId="{889B64A6-40AF-44CE-A3C9-3A6A8E919F7B}"/>
          </ac:spMkLst>
        </pc:spChg>
        <pc:spChg chg="add mod">
          <ac:chgData name="Elliot RASCH" userId="2f4a8af0-b35f-4610-9bc2-bfab6d4d3e11" providerId="ADAL" clId="{A51B066E-7055-4FD4-A838-6978105183AF}" dt="2021-10-04T08:04:18.346" v="9551" actId="20577"/>
          <ac:spMkLst>
            <pc:docMk/>
            <pc:sldMk cId="344247155" sldId="461"/>
            <ac:spMk id="20" creationId="{2B8CC9A3-E53A-48FC-A1DE-A5BBF8D87DCA}"/>
          </ac:spMkLst>
        </pc:spChg>
        <pc:spChg chg="add mod topLvl">
          <ac:chgData name="Elliot RASCH" userId="2f4a8af0-b35f-4610-9bc2-bfab6d4d3e11" providerId="ADAL" clId="{A51B066E-7055-4FD4-A838-6978105183AF}" dt="2021-09-25T15:30:23.443" v="2012" actId="164"/>
          <ac:spMkLst>
            <pc:docMk/>
            <pc:sldMk cId="344247155" sldId="461"/>
            <ac:spMk id="22" creationId="{D3B13E99-B0EA-4685-8E83-D034CCB992DF}"/>
          </ac:spMkLst>
        </pc:spChg>
        <pc:spChg chg="add del mod topLvl">
          <ac:chgData name="Elliot RASCH" userId="2f4a8af0-b35f-4610-9bc2-bfab6d4d3e11" providerId="ADAL" clId="{A51B066E-7055-4FD4-A838-6978105183AF}" dt="2021-09-24T12:26:04.578" v="1193" actId="478"/>
          <ac:spMkLst>
            <pc:docMk/>
            <pc:sldMk cId="344247155" sldId="461"/>
            <ac:spMk id="23" creationId="{4FF08FC6-8342-4FFD-8B14-3527CA2A02E5}"/>
          </ac:spMkLst>
        </pc:spChg>
        <pc:spChg chg="add del">
          <ac:chgData name="Elliot RASCH" userId="2f4a8af0-b35f-4610-9bc2-bfab6d4d3e11" providerId="ADAL" clId="{A51B066E-7055-4FD4-A838-6978105183AF}" dt="2021-09-25T15:28:53.186" v="1988" actId="22"/>
          <ac:spMkLst>
            <pc:docMk/>
            <pc:sldMk cId="344247155" sldId="461"/>
            <ac:spMk id="23" creationId="{F4210DEA-C860-422C-93C3-0820AF9AA0EE}"/>
          </ac:spMkLst>
        </pc:spChg>
        <pc:spChg chg="add del">
          <ac:chgData name="Elliot RASCH" userId="2f4a8af0-b35f-4610-9bc2-bfab6d4d3e11" providerId="ADAL" clId="{A51B066E-7055-4FD4-A838-6978105183AF}" dt="2021-09-25T15:30:05.728" v="2007" actId="22"/>
          <ac:spMkLst>
            <pc:docMk/>
            <pc:sldMk cId="344247155" sldId="461"/>
            <ac:spMk id="24" creationId="{E3EC9278-FFA9-4FCA-81D9-539E6B7D3F0A}"/>
          </ac:spMkLst>
        </pc:spChg>
        <pc:spChg chg="add del mod">
          <ac:chgData name="Elliot RASCH" userId="2f4a8af0-b35f-4610-9bc2-bfab6d4d3e11" providerId="ADAL" clId="{A51B066E-7055-4FD4-A838-6978105183AF}" dt="2021-10-01T09:15:51.935" v="5920" actId="478"/>
          <ac:spMkLst>
            <pc:docMk/>
            <pc:sldMk cId="344247155" sldId="461"/>
            <ac:spMk id="25" creationId="{CC2EA38A-0E21-4954-BC24-992CE3BE7F3F}"/>
          </ac:spMkLst>
        </pc:spChg>
        <pc:spChg chg="add del mod">
          <ac:chgData name="Elliot RASCH" userId="2f4a8af0-b35f-4610-9bc2-bfab6d4d3e11" providerId="ADAL" clId="{A51B066E-7055-4FD4-A838-6978105183AF}" dt="2021-10-01T09:15:43.482" v="5915" actId="478"/>
          <ac:spMkLst>
            <pc:docMk/>
            <pc:sldMk cId="344247155" sldId="461"/>
            <ac:spMk id="27" creationId="{912ECAEE-DB6E-4F08-93BE-23EADA76B7C7}"/>
          </ac:spMkLst>
        </pc:spChg>
        <pc:spChg chg="add del mod">
          <ac:chgData name="Elliot RASCH" userId="2f4a8af0-b35f-4610-9bc2-bfab6d4d3e11" providerId="ADAL" clId="{A51B066E-7055-4FD4-A838-6978105183AF}" dt="2021-10-01T09:15:48.776" v="5918" actId="478"/>
          <ac:spMkLst>
            <pc:docMk/>
            <pc:sldMk cId="344247155" sldId="461"/>
            <ac:spMk id="29" creationId="{75D8E37D-B501-41D3-8850-9815272565C4}"/>
          </ac:spMkLst>
        </pc:spChg>
        <pc:grpChg chg="add mod">
          <ac:chgData name="Elliot RASCH" userId="2f4a8af0-b35f-4610-9bc2-bfab6d4d3e11" providerId="ADAL" clId="{A51B066E-7055-4FD4-A838-6978105183AF}" dt="2021-10-01T14:31:23.065" v="8687" actId="1076"/>
          <ac:grpSpMkLst>
            <pc:docMk/>
            <pc:sldMk cId="344247155" sldId="461"/>
            <ac:grpSpMk id="17" creationId="{963E893A-AEA7-46A0-83FA-1BEA3EFF4403}"/>
          </ac:grpSpMkLst>
        </pc:grpChg>
        <pc:grpChg chg="add del mod">
          <ac:chgData name="Elliot RASCH" userId="2f4a8af0-b35f-4610-9bc2-bfab6d4d3e11" providerId="ADAL" clId="{A51B066E-7055-4FD4-A838-6978105183AF}" dt="2021-09-24T12:26:04.578" v="1193" actId="478"/>
          <ac:grpSpMkLst>
            <pc:docMk/>
            <pc:sldMk cId="344247155" sldId="461"/>
            <ac:grpSpMk id="24" creationId="{F1AB17B9-F82C-4121-B168-01DD956C2C52}"/>
          </ac:grpSpMkLst>
        </pc:grpChg>
        <pc:picChg chg="add mod">
          <ac:chgData name="Elliot RASCH" userId="2f4a8af0-b35f-4610-9bc2-bfab6d4d3e11" providerId="ADAL" clId="{A51B066E-7055-4FD4-A838-6978105183AF}" dt="2021-09-25T15:30:23.443" v="2012" actId="164"/>
          <ac:picMkLst>
            <pc:docMk/>
            <pc:sldMk cId="344247155" sldId="461"/>
            <ac:picMk id="18" creationId="{17FAD543-C30E-4E3D-8CCA-C0831132F9D6}"/>
          </ac:picMkLst>
        </pc:picChg>
        <pc:picChg chg="add mod">
          <ac:chgData name="Elliot RASCH" userId="2f4a8af0-b35f-4610-9bc2-bfab6d4d3e11" providerId="ADAL" clId="{A51B066E-7055-4FD4-A838-6978105183AF}" dt="2021-09-25T15:30:23.443" v="2012" actId="164"/>
          <ac:picMkLst>
            <pc:docMk/>
            <pc:sldMk cId="344247155" sldId="461"/>
            <ac:picMk id="19" creationId="{2156C873-AC43-4DCE-9659-A6EAB8D98A70}"/>
          </ac:picMkLst>
        </pc:picChg>
        <pc:picChg chg="add del mod">
          <ac:chgData name="Elliot RASCH" userId="2f4a8af0-b35f-4610-9bc2-bfab6d4d3e11" providerId="ADAL" clId="{A51B066E-7055-4FD4-A838-6978105183AF}" dt="2021-10-01T09:15:49.544" v="5919" actId="478"/>
          <ac:picMkLst>
            <pc:docMk/>
            <pc:sldMk cId="344247155" sldId="461"/>
            <ac:picMk id="21" creationId="{94AEE154-97B4-4BCF-B608-4AC72BF33B6B}"/>
          </ac:picMkLst>
        </pc:picChg>
        <pc:picChg chg="add mod">
          <ac:chgData name="Elliot RASCH" userId="2f4a8af0-b35f-4610-9bc2-bfab6d4d3e11" providerId="ADAL" clId="{A51B066E-7055-4FD4-A838-6978105183AF}" dt="2021-09-25T15:30:23.443" v="2012" actId="164"/>
          <ac:picMkLst>
            <pc:docMk/>
            <pc:sldMk cId="344247155" sldId="461"/>
            <ac:picMk id="26" creationId="{6E504760-A84D-4563-A618-62CCABD20C53}"/>
          </ac:picMkLst>
        </pc:picChg>
        <pc:picChg chg="add mod">
          <ac:chgData name="Elliot RASCH" userId="2f4a8af0-b35f-4610-9bc2-bfab6d4d3e11" providerId="ADAL" clId="{A51B066E-7055-4FD4-A838-6978105183AF}" dt="2021-09-25T15:30:23.443" v="2012" actId="164"/>
          <ac:picMkLst>
            <pc:docMk/>
            <pc:sldMk cId="344247155" sldId="461"/>
            <ac:picMk id="28" creationId="{59F7A475-C574-4297-94A7-6210A39E79E0}"/>
          </ac:picMkLst>
        </pc:picChg>
        <pc:picChg chg="add del mod">
          <ac:chgData name="Elliot RASCH" userId="2f4a8af0-b35f-4610-9bc2-bfab6d4d3e11" providerId="ADAL" clId="{A51B066E-7055-4FD4-A838-6978105183AF}" dt="2021-09-24T12:24:36.764" v="1184"/>
          <ac:picMkLst>
            <pc:docMk/>
            <pc:sldMk cId="344247155" sldId="461"/>
            <ac:picMk id="30" creationId="{1B848137-BB90-4645-9EC8-5C2D1D527559}"/>
          </ac:picMkLst>
        </pc:picChg>
        <pc:picChg chg="add del mod">
          <ac:chgData name="Elliot RASCH" userId="2f4a8af0-b35f-4610-9bc2-bfab6d4d3e11" providerId="ADAL" clId="{A51B066E-7055-4FD4-A838-6978105183AF}" dt="2021-09-24T12:25:42.645" v="1189" actId="478"/>
          <ac:picMkLst>
            <pc:docMk/>
            <pc:sldMk cId="344247155" sldId="461"/>
            <ac:picMk id="32" creationId="{8202571F-CCC7-4BF7-B87D-38F169A30E27}"/>
          </ac:picMkLst>
        </pc:picChg>
        <pc:picChg chg="add del">
          <ac:chgData name="Elliot RASCH" userId="2f4a8af0-b35f-4610-9bc2-bfab6d4d3e11" providerId="ADAL" clId="{A51B066E-7055-4FD4-A838-6978105183AF}" dt="2021-09-24T12:25:40.055" v="1188" actId="22"/>
          <ac:picMkLst>
            <pc:docMk/>
            <pc:sldMk cId="344247155" sldId="461"/>
            <ac:picMk id="34" creationId="{D900BB77-965F-46AD-AEBC-76D667FD535A}"/>
          </ac:picMkLst>
        </pc:picChg>
        <pc:picChg chg="add mod">
          <ac:chgData name="Elliot RASCH" userId="2f4a8af0-b35f-4610-9bc2-bfab6d4d3e11" providerId="ADAL" clId="{A51B066E-7055-4FD4-A838-6978105183AF}" dt="2021-10-01T14:32:26.084" v="8718" actId="1076"/>
          <ac:picMkLst>
            <pc:docMk/>
            <pc:sldMk cId="344247155" sldId="461"/>
            <ac:picMk id="36" creationId="{E316D56A-B109-460F-A813-FC6332F48F26}"/>
          </ac:picMkLst>
        </pc:picChg>
        <pc:picChg chg="add mod">
          <ac:chgData name="Elliot RASCH" userId="2f4a8af0-b35f-4610-9bc2-bfab6d4d3e11" providerId="ADAL" clId="{A51B066E-7055-4FD4-A838-6978105183AF}" dt="2021-10-01T14:32:03.556" v="8711" actId="14100"/>
          <ac:picMkLst>
            <pc:docMk/>
            <pc:sldMk cId="344247155" sldId="461"/>
            <ac:picMk id="38" creationId="{8405957B-ABED-4562-8A3B-00F2ADC81FCE}"/>
          </ac:picMkLst>
        </pc:picChg>
        <pc:cxnChg chg="add del mod">
          <ac:chgData name="Elliot RASCH" userId="2f4a8af0-b35f-4610-9bc2-bfab6d4d3e11" providerId="ADAL" clId="{A51B066E-7055-4FD4-A838-6978105183AF}" dt="2021-09-24T12:16:42.083" v="1015" actId="11529"/>
          <ac:cxnSpMkLst>
            <pc:docMk/>
            <pc:sldMk cId="344247155" sldId="461"/>
            <ac:cxnSpMk id="21" creationId="{91EC5557-D7D8-4491-A67A-0A57723E1B1B}"/>
          </ac:cxnSpMkLst>
        </pc:cxnChg>
      </pc:sldChg>
      <pc:sldChg chg="addSp delSp modSp add mod ord modAnim modShow modNotes modNotesTx">
        <pc:chgData name="Elliot RASCH" userId="2f4a8af0-b35f-4610-9bc2-bfab6d4d3e11" providerId="ADAL" clId="{A51B066E-7055-4FD4-A838-6978105183AF}" dt="2021-10-01T13:52:57.787" v="6887" actId="20577"/>
        <pc:sldMkLst>
          <pc:docMk/>
          <pc:sldMk cId="3646406489" sldId="462"/>
        </pc:sldMkLst>
        <pc:spChg chg="add mod">
          <ac:chgData name="Elliot RASCH" userId="2f4a8af0-b35f-4610-9bc2-bfab6d4d3e11" providerId="ADAL" clId="{A51B066E-7055-4FD4-A838-6978105183AF}" dt="2021-10-01T13:49:30.188" v="6826" actId="164"/>
          <ac:spMkLst>
            <pc:docMk/>
            <pc:sldMk cId="3646406489" sldId="462"/>
            <ac:spMk id="2" creationId="{29B3A5D5-68CB-4A29-954D-49A1BC32B4D9}"/>
          </ac:spMkLst>
        </pc:spChg>
        <pc:spChg chg="mod">
          <ac:chgData name="Elliot RASCH" userId="2f4a8af0-b35f-4610-9bc2-bfab6d4d3e11" providerId="ADAL" clId="{A51B066E-7055-4FD4-A838-6978105183AF}" dt="2021-09-24T17:57:38.581" v="1554" actId="20577"/>
          <ac:spMkLst>
            <pc:docMk/>
            <pc:sldMk cId="3646406489" sldId="462"/>
            <ac:spMk id="3" creationId="{FAF8ABC7-4156-724A-9E08-9C2C801E7491}"/>
          </ac:spMkLst>
        </pc:spChg>
        <pc:spChg chg="mod">
          <ac:chgData name="Elliot RASCH" userId="2f4a8af0-b35f-4610-9bc2-bfab6d4d3e11" providerId="ADAL" clId="{A51B066E-7055-4FD4-A838-6978105183AF}" dt="2021-09-26T20:05:53.136" v="2782" actId="21"/>
          <ac:spMkLst>
            <pc:docMk/>
            <pc:sldMk cId="3646406489" sldId="462"/>
            <ac:spMk id="4" creationId="{0E87D8D9-34E4-CF48-A15B-512199FF8322}"/>
          </ac:spMkLst>
        </pc:spChg>
        <pc:spChg chg="mod">
          <ac:chgData name="Elliot RASCH" userId="2f4a8af0-b35f-4610-9bc2-bfab6d4d3e11" providerId="ADAL" clId="{A51B066E-7055-4FD4-A838-6978105183AF}" dt="2021-10-01T13:24:06.340" v="6430" actId="113"/>
          <ac:spMkLst>
            <pc:docMk/>
            <pc:sldMk cId="3646406489" sldId="462"/>
            <ac:spMk id="6" creationId="{32C6BDDD-F533-2041-965A-8F8BEF34BDD6}"/>
          </ac:spMkLst>
        </pc:spChg>
        <pc:spChg chg="add mod">
          <ac:chgData name="Elliot RASCH" userId="2f4a8af0-b35f-4610-9bc2-bfab6d4d3e11" providerId="ADAL" clId="{A51B066E-7055-4FD4-A838-6978105183AF}" dt="2021-10-01T13:52:54.907" v="6886" actId="20577"/>
          <ac:spMkLst>
            <pc:docMk/>
            <pc:sldMk cId="3646406489" sldId="462"/>
            <ac:spMk id="8" creationId="{7333A410-3ED2-471B-ADCD-3A4E6AB70772}"/>
          </ac:spMkLst>
        </pc:spChg>
        <pc:spChg chg="mod">
          <ac:chgData name="Elliot RASCH" userId="2f4a8af0-b35f-4610-9bc2-bfab6d4d3e11" providerId="ADAL" clId="{A51B066E-7055-4FD4-A838-6978105183AF}" dt="2021-10-01T13:40:56.946" v="6663" actId="1076"/>
          <ac:spMkLst>
            <pc:docMk/>
            <pc:sldMk cId="3646406489" sldId="462"/>
            <ac:spMk id="9" creationId="{358B959F-C6C3-4AF8-AAA9-9D63DCC260CB}"/>
          </ac:spMkLst>
        </pc:spChg>
        <pc:spChg chg="add mod">
          <ac:chgData name="Elliot RASCH" userId="2f4a8af0-b35f-4610-9bc2-bfab6d4d3e11" providerId="ADAL" clId="{A51B066E-7055-4FD4-A838-6978105183AF}" dt="2021-10-01T13:47:01.828" v="6814" actId="164"/>
          <ac:spMkLst>
            <pc:docMk/>
            <pc:sldMk cId="3646406489" sldId="462"/>
            <ac:spMk id="10" creationId="{3C6949AB-D68E-4B0D-8147-DC92601C57A9}"/>
          </ac:spMkLst>
        </pc:spChg>
        <pc:spChg chg="add mod">
          <ac:chgData name="Elliot RASCH" userId="2f4a8af0-b35f-4610-9bc2-bfab6d4d3e11" providerId="ADAL" clId="{A51B066E-7055-4FD4-A838-6978105183AF}" dt="2021-10-01T13:52:57.787" v="6887" actId="20577"/>
          <ac:spMkLst>
            <pc:docMk/>
            <pc:sldMk cId="3646406489" sldId="462"/>
            <ac:spMk id="17" creationId="{156EC557-13DF-41DB-AE2C-CADF0C884068}"/>
          </ac:spMkLst>
        </pc:spChg>
        <pc:spChg chg="add del mod">
          <ac:chgData name="Elliot RASCH" userId="2f4a8af0-b35f-4610-9bc2-bfab6d4d3e11" providerId="ADAL" clId="{A51B066E-7055-4FD4-A838-6978105183AF}" dt="2021-10-01T13:41:02.006" v="6665" actId="21"/>
          <ac:spMkLst>
            <pc:docMk/>
            <pc:sldMk cId="3646406489" sldId="462"/>
            <ac:spMk id="18" creationId="{F23A06B1-CF82-464D-B2AA-2812A1384FAC}"/>
          </ac:spMkLst>
        </pc:spChg>
        <pc:spChg chg="add mod">
          <ac:chgData name="Elliot RASCH" userId="2f4a8af0-b35f-4610-9bc2-bfab6d4d3e11" providerId="ADAL" clId="{A51B066E-7055-4FD4-A838-6978105183AF}" dt="2021-10-01T13:47:03.158" v="6815" actId="164"/>
          <ac:spMkLst>
            <pc:docMk/>
            <pc:sldMk cId="3646406489" sldId="462"/>
            <ac:spMk id="19" creationId="{523C9C5E-C847-47AE-84DC-DD64526EFFAD}"/>
          </ac:spMkLst>
        </pc:spChg>
        <pc:spChg chg="add mod">
          <ac:chgData name="Elliot RASCH" userId="2f4a8af0-b35f-4610-9bc2-bfab6d4d3e11" providerId="ADAL" clId="{A51B066E-7055-4FD4-A838-6978105183AF}" dt="2021-10-01T13:52:57.787" v="6887" actId="20577"/>
          <ac:spMkLst>
            <pc:docMk/>
            <pc:sldMk cId="3646406489" sldId="462"/>
            <ac:spMk id="21" creationId="{94CDD81B-92A2-4C67-B313-E466CE42373F}"/>
          </ac:spMkLst>
        </pc:spChg>
        <pc:spChg chg="add mod">
          <ac:chgData name="Elliot RASCH" userId="2f4a8af0-b35f-4610-9bc2-bfab6d4d3e11" providerId="ADAL" clId="{A51B066E-7055-4FD4-A838-6978105183AF}" dt="2021-10-01T13:52:54.907" v="6886" actId="20577"/>
          <ac:spMkLst>
            <pc:docMk/>
            <pc:sldMk cId="3646406489" sldId="462"/>
            <ac:spMk id="22" creationId="{D90E4D01-1B45-4832-9394-5445650D41FC}"/>
          </ac:spMkLst>
        </pc:spChg>
        <pc:spChg chg="add mod">
          <ac:chgData name="Elliot RASCH" userId="2f4a8af0-b35f-4610-9bc2-bfab6d4d3e11" providerId="ADAL" clId="{A51B066E-7055-4FD4-A838-6978105183AF}" dt="2021-10-01T13:49:30.188" v="6826" actId="164"/>
          <ac:spMkLst>
            <pc:docMk/>
            <pc:sldMk cId="3646406489" sldId="462"/>
            <ac:spMk id="23" creationId="{2D7C06CF-ED17-40B5-87CC-2F3D507A04CD}"/>
          </ac:spMkLst>
        </pc:spChg>
        <pc:spChg chg="add mod">
          <ac:chgData name="Elliot RASCH" userId="2f4a8af0-b35f-4610-9bc2-bfab6d4d3e11" providerId="ADAL" clId="{A51B066E-7055-4FD4-A838-6978105183AF}" dt="2021-10-01T13:49:25.148" v="6825" actId="164"/>
          <ac:spMkLst>
            <pc:docMk/>
            <pc:sldMk cId="3646406489" sldId="462"/>
            <ac:spMk id="24" creationId="{6F364925-3230-4368-A72D-B1F9E2F3C9CA}"/>
          </ac:spMkLst>
        </pc:spChg>
        <pc:spChg chg="add mod">
          <ac:chgData name="Elliot RASCH" userId="2f4a8af0-b35f-4610-9bc2-bfab6d4d3e11" providerId="ADAL" clId="{A51B066E-7055-4FD4-A838-6978105183AF}" dt="2021-10-01T13:49:23.127" v="6824" actId="164"/>
          <ac:spMkLst>
            <pc:docMk/>
            <pc:sldMk cId="3646406489" sldId="462"/>
            <ac:spMk id="25" creationId="{7E99EFE0-97A5-46AD-8ACC-11702E37D4F4}"/>
          </ac:spMkLst>
        </pc:spChg>
        <pc:spChg chg="add mod">
          <ac:chgData name="Elliot RASCH" userId="2f4a8af0-b35f-4610-9bc2-bfab6d4d3e11" providerId="ADAL" clId="{A51B066E-7055-4FD4-A838-6978105183AF}" dt="2021-10-01T13:47:10.796" v="6816" actId="164"/>
          <ac:spMkLst>
            <pc:docMk/>
            <pc:sldMk cId="3646406489" sldId="462"/>
            <ac:spMk id="26" creationId="{2426C195-1EB7-41A0-AC17-88A421B6AC26}"/>
          </ac:spMkLst>
        </pc:spChg>
        <pc:grpChg chg="add mod">
          <ac:chgData name="Elliot RASCH" userId="2f4a8af0-b35f-4610-9bc2-bfab6d4d3e11" providerId="ADAL" clId="{A51B066E-7055-4FD4-A838-6978105183AF}" dt="2021-10-01T13:52:54.907" v="6886" actId="20577"/>
          <ac:grpSpMkLst>
            <pc:docMk/>
            <pc:sldMk cId="3646406489" sldId="462"/>
            <ac:grpSpMk id="27" creationId="{899440B7-D65F-46EE-AD4F-570D8C322164}"/>
          </ac:grpSpMkLst>
        </pc:grpChg>
        <pc:grpChg chg="add mod">
          <ac:chgData name="Elliot RASCH" userId="2f4a8af0-b35f-4610-9bc2-bfab6d4d3e11" providerId="ADAL" clId="{A51B066E-7055-4FD4-A838-6978105183AF}" dt="2021-10-01T13:52:57.787" v="6887" actId="20577"/>
          <ac:grpSpMkLst>
            <pc:docMk/>
            <pc:sldMk cId="3646406489" sldId="462"/>
            <ac:grpSpMk id="28" creationId="{ED015A9B-9D8C-48AC-B264-CF6F031A387B}"/>
          </ac:grpSpMkLst>
        </pc:grpChg>
        <pc:grpChg chg="add mod">
          <ac:chgData name="Elliot RASCH" userId="2f4a8af0-b35f-4610-9bc2-bfab6d4d3e11" providerId="ADAL" clId="{A51B066E-7055-4FD4-A838-6978105183AF}" dt="2021-10-01T13:49:25.148" v="6825" actId="164"/>
          <ac:grpSpMkLst>
            <pc:docMk/>
            <pc:sldMk cId="3646406489" sldId="462"/>
            <ac:grpSpMk id="29" creationId="{D4A8EA1A-110E-41DF-A80D-B0102DBFCF48}"/>
          </ac:grpSpMkLst>
        </pc:grpChg>
        <pc:grpChg chg="add mod">
          <ac:chgData name="Elliot RASCH" userId="2f4a8af0-b35f-4610-9bc2-bfab6d4d3e11" providerId="ADAL" clId="{A51B066E-7055-4FD4-A838-6978105183AF}" dt="2021-10-01T13:49:23.127" v="6824" actId="164"/>
          <ac:grpSpMkLst>
            <pc:docMk/>
            <pc:sldMk cId="3646406489" sldId="462"/>
            <ac:grpSpMk id="30" creationId="{20ECE159-DB9B-4218-BAD8-7ED70D22E745}"/>
          </ac:grpSpMkLst>
        </pc:grpChg>
        <pc:grpChg chg="add mod">
          <ac:chgData name="Elliot RASCH" userId="2f4a8af0-b35f-4610-9bc2-bfab6d4d3e11" providerId="ADAL" clId="{A51B066E-7055-4FD4-A838-6978105183AF}" dt="2021-10-01T13:47:10.796" v="6816" actId="164"/>
          <ac:grpSpMkLst>
            <pc:docMk/>
            <pc:sldMk cId="3646406489" sldId="462"/>
            <ac:grpSpMk id="31" creationId="{A21468A7-6BF1-4484-B8D7-A1E477B4A15D}"/>
          </ac:grpSpMkLst>
        </pc:grpChg>
        <pc:grpChg chg="add mod">
          <ac:chgData name="Elliot RASCH" userId="2f4a8af0-b35f-4610-9bc2-bfab6d4d3e11" providerId="ADAL" clId="{A51B066E-7055-4FD4-A838-6978105183AF}" dt="2021-10-01T13:49:23.127" v="6824" actId="164"/>
          <ac:grpSpMkLst>
            <pc:docMk/>
            <pc:sldMk cId="3646406489" sldId="462"/>
            <ac:grpSpMk id="32" creationId="{8E9C8F95-1AFE-4606-B931-99524515E1D2}"/>
          </ac:grpSpMkLst>
        </pc:grpChg>
        <pc:grpChg chg="add mod">
          <ac:chgData name="Elliot RASCH" userId="2f4a8af0-b35f-4610-9bc2-bfab6d4d3e11" providerId="ADAL" clId="{A51B066E-7055-4FD4-A838-6978105183AF}" dt="2021-10-01T13:49:25.148" v="6825" actId="164"/>
          <ac:grpSpMkLst>
            <pc:docMk/>
            <pc:sldMk cId="3646406489" sldId="462"/>
            <ac:grpSpMk id="33" creationId="{85C4A845-040C-40A9-9BB2-C23577D36122}"/>
          </ac:grpSpMkLst>
        </pc:grpChg>
        <pc:grpChg chg="add mod">
          <ac:chgData name="Elliot RASCH" userId="2f4a8af0-b35f-4610-9bc2-bfab6d4d3e11" providerId="ADAL" clId="{A51B066E-7055-4FD4-A838-6978105183AF}" dt="2021-10-01T13:49:30.188" v="6826" actId="164"/>
          <ac:grpSpMkLst>
            <pc:docMk/>
            <pc:sldMk cId="3646406489" sldId="462"/>
            <ac:grpSpMk id="34" creationId="{AC927F0D-6770-492F-985F-BB0C5878AF40}"/>
          </ac:grpSpMkLst>
        </pc:grpChg>
        <pc:grpChg chg="add mod">
          <ac:chgData name="Elliot RASCH" userId="2f4a8af0-b35f-4610-9bc2-bfab6d4d3e11" providerId="ADAL" clId="{A51B066E-7055-4FD4-A838-6978105183AF}" dt="2021-10-01T13:52:54.907" v="6886" actId="20577"/>
          <ac:grpSpMkLst>
            <pc:docMk/>
            <pc:sldMk cId="3646406489" sldId="462"/>
            <ac:grpSpMk id="35" creationId="{7A6A0A94-423B-4D2D-B1B1-519884EF8C45}"/>
          </ac:grpSpMkLst>
        </pc:grpChg>
        <pc:grpChg chg="add mod">
          <ac:chgData name="Elliot RASCH" userId="2f4a8af0-b35f-4610-9bc2-bfab6d4d3e11" providerId="ADAL" clId="{A51B066E-7055-4FD4-A838-6978105183AF}" dt="2021-10-01T13:52:57.787" v="6887" actId="20577"/>
          <ac:grpSpMkLst>
            <pc:docMk/>
            <pc:sldMk cId="3646406489" sldId="462"/>
            <ac:grpSpMk id="36" creationId="{F87077FE-FAA9-4C52-8017-18D19143075A}"/>
          </ac:grpSpMkLst>
        </pc:grpChg>
        <pc:graphicFrameChg chg="mod">
          <ac:chgData name="Elliot RASCH" userId="2f4a8af0-b35f-4610-9bc2-bfab6d4d3e11" providerId="ADAL" clId="{A51B066E-7055-4FD4-A838-6978105183AF}" dt="2021-10-01T13:49:02.803" v="6823" actId="1076"/>
          <ac:graphicFrameMkLst>
            <pc:docMk/>
            <pc:sldMk cId="3646406489" sldId="462"/>
            <ac:graphicFrameMk id="7" creationId="{836167B7-6775-3E4A-B03C-A4B9E52D0726}"/>
          </ac:graphicFrameMkLst>
        </pc:graphicFrameChg>
        <pc:picChg chg="add mod">
          <ac:chgData name="Elliot RASCH" userId="2f4a8af0-b35f-4610-9bc2-bfab6d4d3e11" providerId="ADAL" clId="{A51B066E-7055-4FD4-A838-6978105183AF}" dt="2021-10-01T13:39:16.768" v="6634" actId="1076"/>
          <ac:picMkLst>
            <pc:docMk/>
            <pc:sldMk cId="3646406489" sldId="462"/>
            <ac:picMk id="5" creationId="{46C70B22-3337-4E7F-BDB7-E7BC3B0F8CE9}"/>
          </ac:picMkLst>
        </pc:picChg>
        <pc:picChg chg="add mod">
          <ac:chgData name="Elliot RASCH" userId="2f4a8af0-b35f-4610-9bc2-bfab6d4d3e11" providerId="ADAL" clId="{A51B066E-7055-4FD4-A838-6978105183AF}" dt="2021-10-01T13:52:57.787" v="6887" actId="20577"/>
          <ac:picMkLst>
            <pc:docMk/>
            <pc:sldMk cId="3646406489" sldId="462"/>
            <ac:picMk id="11" creationId="{470B6517-1F8D-4832-9DDE-A718244F9030}"/>
          </ac:picMkLst>
        </pc:picChg>
        <pc:picChg chg="add mod">
          <ac:chgData name="Elliot RASCH" userId="2f4a8af0-b35f-4610-9bc2-bfab6d4d3e11" providerId="ADAL" clId="{A51B066E-7055-4FD4-A838-6978105183AF}" dt="2021-10-01T13:47:01.828" v="6814" actId="164"/>
          <ac:picMkLst>
            <pc:docMk/>
            <pc:sldMk cId="3646406489" sldId="462"/>
            <ac:picMk id="13" creationId="{1E22B074-0168-4F7A-BFC5-4EB64C1E145C}"/>
          </ac:picMkLst>
        </pc:picChg>
        <pc:picChg chg="add mod">
          <ac:chgData name="Elliot RASCH" userId="2f4a8af0-b35f-4610-9bc2-bfab6d4d3e11" providerId="ADAL" clId="{A51B066E-7055-4FD4-A838-6978105183AF}" dt="2021-10-01T13:49:30.188" v="6826" actId="164"/>
          <ac:picMkLst>
            <pc:docMk/>
            <pc:sldMk cId="3646406489" sldId="462"/>
            <ac:picMk id="14" creationId="{C4B140AA-06B1-4EEE-BCCB-6BB67E82258C}"/>
          </ac:picMkLst>
        </pc:picChg>
        <pc:picChg chg="add mod">
          <ac:chgData name="Elliot RASCH" userId="2f4a8af0-b35f-4610-9bc2-bfab6d4d3e11" providerId="ADAL" clId="{A51B066E-7055-4FD4-A838-6978105183AF}" dt="2021-10-01T13:47:03.158" v="6815" actId="164"/>
          <ac:picMkLst>
            <pc:docMk/>
            <pc:sldMk cId="3646406489" sldId="462"/>
            <ac:picMk id="15" creationId="{8849C610-E594-4014-8871-53159B7CFD40}"/>
          </ac:picMkLst>
        </pc:picChg>
        <pc:picChg chg="add mod">
          <ac:chgData name="Elliot RASCH" userId="2f4a8af0-b35f-4610-9bc2-bfab6d4d3e11" providerId="ADAL" clId="{A51B066E-7055-4FD4-A838-6978105183AF}" dt="2021-10-01T13:47:10.796" v="6816" actId="164"/>
          <ac:picMkLst>
            <pc:docMk/>
            <pc:sldMk cId="3646406489" sldId="462"/>
            <ac:picMk id="16" creationId="{153A5219-F34C-4A1E-A21D-44834618ED4D}"/>
          </ac:picMkLst>
        </pc:picChg>
        <pc:picChg chg="add mod">
          <ac:chgData name="Elliot RASCH" userId="2f4a8af0-b35f-4610-9bc2-bfab6d4d3e11" providerId="ADAL" clId="{A51B066E-7055-4FD4-A838-6978105183AF}" dt="2021-10-01T13:52:54.907" v="6886" actId="20577"/>
          <ac:picMkLst>
            <pc:docMk/>
            <pc:sldMk cId="3646406489" sldId="462"/>
            <ac:picMk id="20" creationId="{76B131F5-8362-439A-8667-A13B26B61E7A}"/>
          </ac:picMkLst>
        </pc:picChg>
      </pc:sldChg>
      <pc:sldChg chg="addSp delSp modSp add mod ord modNotesTx">
        <pc:chgData name="Elliot RASCH" userId="2f4a8af0-b35f-4610-9bc2-bfab6d4d3e11" providerId="ADAL" clId="{A51B066E-7055-4FD4-A838-6978105183AF}" dt="2021-10-01T14:33:01.755" v="8752" actId="1076"/>
        <pc:sldMkLst>
          <pc:docMk/>
          <pc:sldMk cId="950167900" sldId="463"/>
        </pc:sldMkLst>
        <pc:spChg chg="add mod">
          <ac:chgData name="Elliot RASCH" userId="2f4a8af0-b35f-4610-9bc2-bfab6d4d3e11" providerId="ADAL" clId="{A51B066E-7055-4FD4-A838-6978105183AF}" dt="2021-09-29T14:15:17.229" v="3958" actId="5793"/>
          <ac:spMkLst>
            <pc:docMk/>
            <pc:sldMk cId="950167900" sldId="463"/>
            <ac:spMk id="2" creationId="{2CEF1B7E-C78A-4E45-AF68-C88303977A3F}"/>
          </ac:spMkLst>
        </pc:spChg>
        <pc:spChg chg="del">
          <ac:chgData name="Elliot RASCH" userId="2f4a8af0-b35f-4610-9bc2-bfab6d4d3e11" providerId="ADAL" clId="{A51B066E-7055-4FD4-A838-6978105183AF}" dt="2021-09-25T15:44:33.790" v="2275" actId="478"/>
          <ac:spMkLst>
            <pc:docMk/>
            <pc:sldMk cId="950167900" sldId="463"/>
            <ac:spMk id="3" creationId="{9ECA9384-630B-964B-B616-2E32DF2B2F2B}"/>
          </ac:spMkLst>
        </pc:spChg>
        <pc:spChg chg="add del mod">
          <ac:chgData name="Elliot RASCH" userId="2f4a8af0-b35f-4610-9bc2-bfab6d4d3e11" providerId="ADAL" clId="{A51B066E-7055-4FD4-A838-6978105183AF}" dt="2021-09-26T21:05:22.228" v="3520" actId="478"/>
          <ac:spMkLst>
            <pc:docMk/>
            <pc:sldMk cId="950167900" sldId="463"/>
            <ac:spMk id="5" creationId="{BE736FFA-BFEE-4907-8E9B-A4BE6C9180D2}"/>
          </ac:spMkLst>
        </pc:spChg>
        <pc:spChg chg="add del mod">
          <ac:chgData name="Elliot RASCH" userId="2f4a8af0-b35f-4610-9bc2-bfab6d4d3e11" providerId="ADAL" clId="{A51B066E-7055-4FD4-A838-6978105183AF}" dt="2021-09-26T20:56:44.195" v="3482" actId="478"/>
          <ac:spMkLst>
            <pc:docMk/>
            <pc:sldMk cId="950167900" sldId="463"/>
            <ac:spMk id="6" creationId="{0E75BA97-8A0D-4D6D-9118-F3120DD2E379}"/>
          </ac:spMkLst>
        </pc:spChg>
        <pc:spChg chg="del">
          <ac:chgData name="Elliot RASCH" userId="2f4a8af0-b35f-4610-9bc2-bfab6d4d3e11" providerId="ADAL" clId="{A51B066E-7055-4FD4-A838-6978105183AF}" dt="2021-09-25T15:44:33.790" v="2275" actId="478"/>
          <ac:spMkLst>
            <pc:docMk/>
            <pc:sldMk cId="950167900" sldId="463"/>
            <ac:spMk id="6" creationId="{4063E0E6-B684-451F-9A13-AEB37A3B099D}"/>
          </ac:spMkLst>
        </pc:spChg>
        <pc:spChg chg="del">
          <ac:chgData name="Elliot RASCH" userId="2f4a8af0-b35f-4610-9bc2-bfab6d4d3e11" providerId="ADAL" clId="{A51B066E-7055-4FD4-A838-6978105183AF}" dt="2021-09-25T15:44:33.790" v="2275" actId="478"/>
          <ac:spMkLst>
            <pc:docMk/>
            <pc:sldMk cId="950167900" sldId="463"/>
            <ac:spMk id="7" creationId="{05D1B5EE-240F-814A-AF5F-859388321503}"/>
          </ac:spMkLst>
        </pc:spChg>
        <pc:spChg chg="add mod">
          <ac:chgData name="Elliot RASCH" userId="2f4a8af0-b35f-4610-9bc2-bfab6d4d3e11" providerId="ADAL" clId="{A51B066E-7055-4FD4-A838-6978105183AF}" dt="2021-09-26T20:57:26.059" v="3488" actId="164"/>
          <ac:spMkLst>
            <pc:docMk/>
            <pc:sldMk cId="950167900" sldId="463"/>
            <ac:spMk id="7" creationId="{6358607C-FE8C-4692-BA20-EBD47B42CB0F}"/>
          </ac:spMkLst>
        </pc:spChg>
        <pc:spChg chg="mod">
          <ac:chgData name="Elliot RASCH" userId="2f4a8af0-b35f-4610-9bc2-bfab6d4d3e11" providerId="ADAL" clId="{A51B066E-7055-4FD4-A838-6978105183AF}" dt="2021-09-26T20:57:29.252" v="3490"/>
          <ac:spMkLst>
            <pc:docMk/>
            <pc:sldMk cId="950167900" sldId="463"/>
            <ac:spMk id="13" creationId="{0EE6F4B1-1C4C-41E6-8D1C-EDE4582FEB1D}"/>
          </ac:spMkLst>
        </pc:spChg>
        <pc:spChg chg="mod">
          <ac:chgData name="Elliot RASCH" userId="2f4a8af0-b35f-4610-9bc2-bfab6d4d3e11" providerId="ADAL" clId="{A51B066E-7055-4FD4-A838-6978105183AF}" dt="2021-09-29T15:39:47.830" v="5027" actId="20577"/>
          <ac:spMkLst>
            <pc:docMk/>
            <pc:sldMk cId="950167900" sldId="463"/>
            <ac:spMk id="14" creationId="{ADE24960-3DC1-4F40-8705-D09E167A0C53}"/>
          </ac:spMkLst>
        </pc:spChg>
        <pc:spChg chg="mod">
          <ac:chgData name="Elliot RASCH" userId="2f4a8af0-b35f-4610-9bc2-bfab6d4d3e11" providerId="ADAL" clId="{A51B066E-7055-4FD4-A838-6978105183AF}" dt="2021-09-26T20:25:33.615" v="3314" actId="20577"/>
          <ac:spMkLst>
            <pc:docMk/>
            <pc:sldMk cId="950167900" sldId="463"/>
            <ac:spMk id="15" creationId="{876AB4B5-129A-7F43-9340-1BAF49B9B459}"/>
          </ac:spMkLst>
        </pc:spChg>
        <pc:spChg chg="mod">
          <ac:chgData name="Elliot RASCH" userId="2f4a8af0-b35f-4610-9bc2-bfab6d4d3e11" providerId="ADAL" clId="{A51B066E-7055-4FD4-A838-6978105183AF}" dt="2021-09-26T20:57:37.367" v="3498"/>
          <ac:spMkLst>
            <pc:docMk/>
            <pc:sldMk cId="950167900" sldId="463"/>
            <ac:spMk id="18" creationId="{CE4F76C7-42EE-45AB-A98D-6B0525CC5E60}"/>
          </ac:spMkLst>
        </pc:spChg>
        <pc:spChg chg="mod">
          <ac:chgData name="Elliot RASCH" userId="2f4a8af0-b35f-4610-9bc2-bfab6d4d3e11" providerId="ADAL" clId="{A51B066E-7055-4FD4-A838-6978105183AF}" dt="2021-09-26T20:58:18.987" v="3504"/>
          <ac:spMkLst>
            <pc:docMk/>
            <pc:sldMk cId="950167900" sldId="463"/>
            <ac:spMk id="22" creationId="{207C28B2-267C-4D6C-A40E-8208C8DF2CF2}"/>
          </ac:spMkLst>
        </pc:spChg>
        <pc:spChg chg="del">
          <ac:chgData name="Elliot RASCH" userId="2f4a8af0-b35f-4610-9bc2-bfab6d4d3e11" providerId="ADAL" clId="{A51B066E-7055-4FD4-A838-6978105183AF}" dt="2021-09-25T15:44:33.790" v="2275" actId="478"/>
          <ac:spMkLst>
            <pc:docMk/>
            <pc:sldMk cId="950167900" sldId="463"/>
            <ac:spMk id="25" creationId="{CC2EA38A-0E21-4954-BC24-992CE3BE7F3F}"/>
          </ac:spMkLst>
        </pc:spChg>
        <pc:spChg chg="add del mod topLvl">
          <ac:chgData name="Elliot RASCH" userId="2f4a8af0-b35f-4610-9bc2-bfab6d4d3e11" providerId="ADAL" clId="{A51B066E-7055-4FD4-A838-6978105183AF}" dt="2021-09-26T20:58:57.882" v="3516" actId="478"/>
          <ac:spMkLst>
            <pc:docMk/>
            <pc:sldMk cId="950167900" sldId="463"/>
            <ac:spMk id="26" creationId="{204C4ACF-CD1C-4E68-B4D1-0B0D42C2CBF9}"/>
          </ac:spMkLst>
        </pc:spChg>
        <pc:spChg chg="del mod">
          <ac:chgData name="Elliot RASCH" userId="2f4a8af0-b35f-4610-9bc2-bfab6d4d3e11" providerId="ADAL" clId="{A51B066E-7055-4FD4-A838-6978105183AF}" dt="2021-09-25T15:44:36.381" v="2277" actId="478"/>
          <ac:spMkLst>
            <pc:docMk/>
            <pc:sldMk cId="950167900" sldId="463"/>
            <ac:spMk id="27" creationId="{912ECAEE-DB6E-4F08-93BE-23EADA76B7C7}"/>
          </ac:spMkLst>
        </pc:spChg>
        <pc:spChg chg="del">
          <ac:chgData name="Elliot RASCH" userId="2f4a8af0-b35f-4610-9bc2-bfab6d4d3e11" providerId="ADAL" clId="{A51B066E-7055-4FD4-A838-6978105183AF}" dt="2021-09-25T15:44:37.706" v="2278" actId="478"/>
          <ac:spMkLst>
            <pc:docMk/>
            <pc:sldMk cId="950167900" sldId="463"/>
            <ac:spMk id="29" creationId="{75D8E37D-B501-41D3-8850-9815272565C4}"/>
          </ac:spMkLst>
        </pc:spChg>
        <pc:grpChg chg="add del mod">
          <ac:chgData name="Elliot RASCH" userId="2f4a8af0-b35f-4610-9bc2-bfab6d4d3e11" providerId="ADAL" clId="{A51B066E-7055-4FD4-A838-6978105183AF}" dt="2021-09-26T20:57:27.328" v="3489" actId="21"/>
          <ac:grpSpMkLst>
            <pc:docMk/>
            <pc:sldMk cId="950167900" sldId="463"/>
            <ac:grpSpMk id="8" creationId="{377D8538-A01E-4229-908B-40AAF0E41460}"/>
          </ac:grpSpMkLst>
        </pc:grpChg>
        <pc:grpChg chg="add del mod">
          <ac:chgData name="Elliot RASCH" userId="2f4a8af0-b35f-4610-9bc2-bfab6d4d3e11" providerId="ADAL" clId="{A51B066E-7055-4FD4-A838-6978105183AF}" dt="2021-09-26T20:57:31.320" v="3491"/>
          <ac:grpSpMkLst>
            <pc:docMk/>
            <pc:sldMk cId="950167900" sldId="463"/>
            <ac:grpSpMk id="11" creationId="{E8471C80-E2F9-4799-B581-E665026EE040}"/>
          </ac:grpSpMkLst>
        </pc:grpChg>
        <pc:grpChg chg="add del mod">
          <ac:chgData name="Elliot RASCH" userId="2f4a8af0-b35f-4610-9bc2-bfab6d4d3e11" providerId="ADAL" clId="{A51B066E-7055-4FD4-A838-6978105183AF}" dt="2021-09-26T20:58:15.969" v="3503" actId="21"/>
          <ac:grpSpMkLst>
            <pc:docMk/>
            <pc:sldMk cId="950167900" sldId="463"/>
            <ac:grpSpMk id="16" creationId="{94CE9EF8-3379-4D89-B285-5BA95FAD7243}"/>
          </ac:grpSpMkLst>
        </pc:grpChg>
        <pc:grpChg chg="del">
          <ac:chgData name="Elliot RASCH" userId="2f4a8af0-b35f-4610-9bc2-bfab6d4d3e11" providerId="ADAL" clId="{A51B066E-7055-4FD4-A838-6978105183AF}" dt="2021-09-25T15:44:33.790" v="2275" actId="478"/>
          <ac:grpSpMkLst>
            <pc:docMk/>
            <pc:sldMk cId="950167900" sldId="463"/>
            <ac:grpSpMk id="17" creationId="{963E893A-AEA7-46A0-83FA-1BEA3EFF4403}"/>
          </ac:grpSpMkLst>
        </pc:grpChg>
        <pc:grpChg chg="add del mod">
          <ac:chgData name="Elliot RASCH" userId="2f4a8af0-b35f-4610-9bc2-bfab6d4d3e11" providerId="ADAL" clId="{A51B066E-7055-4FD4-A838-6978105183AF}" dt="2021-09-26T20:58:22.117" v="3507"/>
          <ac:grpSpMkLst>
            <pc:docMk/>
            <pc:sldMk cId="950167900" sldId="463"/>
            <ac:grpSpMk id="20" creationId="{F7610026-4EC0-4424-9658-21C6014241AE}"/>
          </ac:grpSpMkLst>
        </pc:grpChg>
        <pc:grpChg chg="add del mod">
          <ac:chgData name="Elliot RASCH" userId="2f4a8af0-b35f-4610-9bc2-bfab6d4d3e11" providerId="ADAL" clId="{A51B066E-7055-4FD4-A838-6978105183AF}" dt="2021-09-26T20:58:57.882" v="3516" actId="478"/>
          <ac:grpSpMkLst>
            <pc:docMk/>
            <pc:sldMk cId="950167900" sldId="463"/>
            <ac:grpSpMk id="24" creationId="{D07B2507-52B8-4CAE-83C1-FEE77BE752BF}"/>
          </ac:grpSpMkLst>
        </pc:grpChg>
        <pc:picChg chg="add mod modCrop">
          <ac:chgData name="Elliot RASCH" userId="2f4a8af0-b35f-4610-9bc2-bfab6d4d3e11" providerId="ADAL" clId="{A51B066E-7055-4FD4-A838-6978105183AF}" dt="2021-09-26T20:57:26.059" v="3488" actId="164"/>
          <ac:picMkLst>
            <pc:docMk/>
            <pc:sldMk cId="950167900" sldId="463"/>
            <ac:picMk id="4" creationId="{86E1D0C9-D9BF-4C9D-B835-F658CA0AFA63}"/>
          </ac:picMkLst>
        </pc:picChg>
        <pc:picChg chg="add del mod">
          <ac:chgData name="Elliot RASCH" userId="2f4a8af0-b35f-4610-9bc2-bfab6d4d3e11" providerId="ADAL" clId="{A51B066E-7055-4FD4-A838-6978105183AF}" dt="2021-09-26T20:57:36.805" v="3497"/>
          <ac:picMkLst>
            <pc:docMk/>
            <pc:sldMk cId="950167900" sldId="463"/>
            <ac:picMk id="9" creationId="{E2F2D29C-D813-43EA-B388-935A8923CFCC}"/>
          </ac:picMkLst>
        </pc:picChg>
        <pc:picChg chg="mod">
          <ac:chgData name="Elliot RASCH" userId="2f4a8af0-b35f-4610-9bc2-bfab6d4d3e11" providerId="ADAL" clId="{A51B066E-7055-4FD4-A838-6978105183AF}" dt="2021-09-26T20:57:29.252" v="3490"/>
          <ac:picMkLst>
            <pc:docMk/>
            <pc:sldMk cId="950167900" sldId="463"/>
            <ac:picMk id="12" creationId="{E05BAF68-5010-44BC-A64C-9BB59E46BE58}"/>
          </ac:picMkLst>
        </pc:picChg>
        <pc:picChg chg="mod">
          <ac:chgData name="Elliot RASCH" userId="2f4a8af0-b35f-4610-9bc2-bfab6d4d3e11" providerId="ADAL" clId="{A51B066E-7055-4FD4-A838-6978105183AF}" dt="2021-09-26T20:57:37.367" v="3498"/>
          <ac:picMkLst>
            <pc:docMk/>
            <pc:sldMk cId="950167900" sldId="463"/>
            <ac:picMk id="17" creationId="{97AA66A8-290C-40D4-97FB-FCE123BCB028}"/>
          </ac:picMkLst>
        </pc:picChg>
        <pc:picChg chg="add del mod">
          <ac:chgData name="Elliot RASCH" userId="2f4a8af0-b35f-4610-9bc2-bfab6d4d3e11" providerId="ADAL" clId="{A51B066E-7055-4FD4-A838-6978105183AF}" dt="2021-09-26T20:58:06.463" v="3502" actId="478"/>
          <ac:picMkLst>
            <pc:docMk/>
            <pc:sldMk cId="950167900" sldId="463"/>
            <ac:picMk id="19" creationId="{34AC359A-F6F9-4110-9AB0-85084B3B8ACA}"/>
          </ac:picMkLst>
        </pc:picChg>
        <pc:picChg chg="mod">
          <ac:chgData name="Elliot RASCH" userId="2f4a8af0-b35f-4610-9bc2-bfab6d4d3e11" providerId="ADAL" clId="{A51B066E-7055-4FD4-A838-6978105183AF}" dt="2021-09-26T20:58:18.987" v="3504"/>
          <ac:picMkLst>
            <pc:docMk/>
            <pc:sldMk cId="950167900" sldId="463"/>
            <ac:picMk id="21" creationId="{013D17FD-84D1-482F-85E6-5A688C1C8CBD}"/>
          </ac:picMkLst>
        </pc:picChg>
        <pc:picChg chg="del">
          <ac:chgData name="Elliot RASCH" userId="2f4a8af0-b35f-4610-9bc2-bfab6d4d3e11" providerId="ADAL" clId="{A51B066E-7055-4FD4-A838-6978105183AF}" dt="2021-09-25T15:44:33.790" v="2275" actId="478"/>
          <ac:picMkLst>
            <pc:docMk/>
            <pc:sldMk cId="950167900" sldId="463"/>
            <ac:picMk id="21" creationId="{94AEE154-97B4-4BCF-B608-4AC72BF33B6B}"/>
          </ac:picMkLst>
        </pc:picChg>
        <pc:picChg chg="add del">
          <ac:chgData name="Elliot RASCH" userId="2f4a8af0-b35f-4610-9bc2-bfab6d4d3e11" providerId="ADAL" clId="{A51B066E-7055-4FD4-A838-6978105183AF}" dt="2021-09-26T20:58:23.572" v="3509"/>
          <ac:picMkLst>
            <pc:docMk/>
            <pc:sldMk cId="950167900" sldId="463"/>
            <ac:picMk id="23" creationId="{A593038D-9F2D-4A2A-B753-09DE07D67197}"/>
          </ac:picMkLst>
        </pc:picChg>
        <pc:picChg chg="add del mod topLvl modCrop">
          <ac:chgData name="Elliot RASCH" userId="2f4a8af0-b35f-4610-9bc2-bfab6d4d3e11" providerId="ADAL" clId="{A51B066E-7055-4FD4-A838-6978105183AF}" dt="2021-09-26T21:00:40.001" v="3519" actId="478"/>
          <ac:picMkLst>
            <pc:docMk/>
            <pc:sldMk cId="950167900" sldId="463"/>
            <ac:picMk id="25" creationId="{81B8B4BA-AD7A-4869-9B47-0990162446BA}"/>
          </ac:picMkLst>
        </pc:picChg>
        <pc:picChg chg="add mod modCrop">
          <ac:chgData name="Elliot RASCH" userId="2f4a8af0-b35f-4610-9bc2-bfab6d4d3e11" providerId="ADAL" clId="{A51B066E-7055-4FD4-A838-6978105183AF}" dt="2021-10-01T14:33:01.755" v="8752" actId="1076"/>
          <ac:picMkLst>
            <pc:docMk/>
            <pc:sldMk cId="950167900" sldId="463"/>
            <ac:picMk id="28" creationId="{B1F62134-82CF-469E-873E-92E881925F7F}"/>
          </ac:picMkLst>
        </pc:picChg>
      </pc:sldChg>
      <pc:sldChg chg="addSp delSp modSp add del mod modNotesTx">
        <pc:chgData name="Elliot RASCH" userId="2f4a8af0-b35f-4610-9bc2-bfab6d4d3e11" providerId="ADAL" clId="{A51B066E-7055-4FD4-A838-6978105183AF}" dt="2021-09-25T15:51:45.166" v="2387" actId="2696"/>
        <pc:sldMkLst>
          <pc:docMk/>
          <pc:sldMk cId="197435380" sldId="464"/>
        </pc:sldMkLst>
        <pc:spChg chg="del">
          <ac:chgData name="Elliot RASCH" userId="2f4a8af0-b35f-4610-9bc2-bfab6d4d3e11" providerId="ADAL" clId="{A51B066E-7055-4FD4-A838-6978105183AF}" dt="2021-09-25T15:45:20.995" v="2321" actId="478"/>
          <ac:spMkLst>
            <pc:docMk/>
            <pc:sldMk cId="197435380" sldId="464"/>
            <ac:spMk id="3" creationId="{9ECA9384-630B-964B-B616-2E32DF2B2F2B}"/>
          </ac:spMkLst>
        </pc:spChg>
        <pc:spChg chg="del">
          <ac:chgData name="Elliot RASCH" userId="2f4a8af0-b35f-4610-9bc2-bfab6d4d3e11" providerId="ADAL" clId="{A51B066E-7055-4FD4-A838-6978105183AF}" dt="2021-09-25T15:45:20.995" v="2321" actId="478"/>
          <ac:spMkLst>
            <pc:docMk/>
            <pc:sldMk cId="197435380" sldId="464"/>
            <ac:spMk id="6" creationId="{4063E0E6-B684-451F-9A13-AEB37A3B099D}"/>
          </ac:spMkLst>
        </pc:spChg>
        <pc:spChg chg="del">
          <ac:chgData name="Elliot RASCH" userId="2f4a8af0-b35f-4610-9bc2-bfab6d4d3e11" providerId="ADAL" clId="{A51B066E-7055-4FD4-A838-6978105183AF}" dt="2021-09-25T15:45:20.995" v="2321" actId="478"/>
          <ac:spMkLst>
            <pc:docMk/>
            <pc:sldMk cId="197435380" sldId="464"/>
            <ac:spMk id="7" creationId="{05D1B5EE-240F-814A-AF5F-859388321503}"/>
          </ac:spMkLst>
        </pc:spChg>
        <pc:spChg chg="mod">
          <ac:chgData name="Elliot RASCH" userId="2f4a8af0-b35f-4610-9bc2-bfab6d4d3e11" providerId="ADAL" clId="{A51B066E-7055-4FD4-A838-6978105183AF}" dt="2021-09-25T15:45:17.771" v="2320" actId="20577"/>
          <ac:spMkLst>
            <pc:docMk/>
            <pc:sldMk cId="197435380" sldId="464"/>
            <ac:spMk id="15" creationId="{876AB4B5-129A-7F43-9340-1BAF49B9B459}"/>
          </ac:spMkLst>
        </pc:spChg>
        <pc:spChg chg="add del">
          <ac:chgData name="Elliot RASCH" userId="2f4a8af0-b35f-4610-9bc2-bfab6d4d3e11" providerId="ADAL" clId="{A51B066E-7055-4FD4-A838-6978105183AF}" dt="2021-09-25T15:46:02.589" v="2327" actId="22"/>
          <ac:spMkLst>
            <pc:docMk/>
            <pc:sldMk cId="197435380" sldId="464"/>
            <ac:spMk id="20" creationId="{DE00532B-6CBC-4D28-B8F1-EF69BACE8246}"/>
          </ac:spMkLst>
        </pc:spChg>
        <pc:spChg chg="add del">
          <ac:chgData name="Elliot RASCH" userId="2f4a8af0-b35f-4610-9bc2-bfab6d4d3e11" providerId="ADAL" clId="{A51B066E-7055-4FD4-A838-6978105183AF}" dt="2021-09-25T15:46:16.703" v="2329" actId="22"/>
          <ac:spMkLst>
            <pc:docMk/>
            <pc:sldMk cId="197435380" sldId="464"/>
            <ac:spMk id="23" creationId="{DE1A4C04-269A-4C24-B9BA-679F5D3F69C5}"/>
          </ac:spMkLst>
        </pc:spChg>
        <pc:spChg chg="del">
          <ac:chgData name="Elliot RASCH" userId="2f4a8af0-b35f-4610-9bc2-bfab6d4d3e11" providerId="ADAL" clId="{A51B066E-7055-4FD4-A838-6978105183AF}" dt="2021-09-25T15:45:20.995" v="2321" actId="478"/>
          <ac:spMkLst>
            <pc:docMk/>
            <pc:sldMk cId="197435380" sldId="464"/>
            <ac:spMk id="25" creationId="{CC2EA38A-0E21-4954-BC24-992CE3BE7F3F}"/>
          </ac:spMkLst>
        </pc:spChg>
        <pc:spChg chg="del">
          <ac:chgData name="Elliot RASCH" userId="2f4a8af0-b35f-4610-9bc2-bfab6d4d3e11" providerId="ADAL" clId="{A51B066E-7055-4FD4-A838-6978105183AF}" dt="2021-09-25T15:45:24.231" v="2325" actId="478"/>
          <ac:spMkLst>
            <pc:docMk/>
            <pc:sldMk cId="197435380" sldId="464"/>
            <ac:spMk id="27" creationId="{912ECAEE-DB6E-4F08-93BE-23EADA76B7C7}"/>
          </ac:spMkLst>
        </pc:spChg>
        <pc:spChg chg="del mod">
          <ac:chgData name="Elliot RASCH" userId="2f4a8af0-b35f-4610-9bc2-bfab6d4d3e11" providerId="ADAL" clId="{A51B066E-7055-4FD4-A838-6978105183AF}" dt="2021-09-25T15:45:23.430" v="2324" actId="478"/>
          <ac:spMkLst>
            <pc:docMk/>
            <pc:sldMk cId="197435380" sldId="464"/>
            <ac:spMk id="29" creationId="{75D8E37D-B501-41D3-8850-9815272565C4}"/>
          </ac:spMkLst>
        </pc:spChg>
        <pc:grpChg chg="del">
          <ac:chgData name="Elliot RASCH" userId="2f4a8af0-b35f-4610-9bc2-bfab6d4d3e11" providerId="ADAL" clId="{A51B066E-7055-4FD4-A838-6978105183AF}" dt="2021-09-25T15:45:21.756" v="2322" actId="478"/>
          <ac:grpSpMkLst>
            <pc:docMk/>
            <pc:sldMk cId="197435380" sldId="464"/>
            <ac:grpSpMk id="17" creationId="{963E893A-AEA7-46A0-83FA-1BEA3EFF4403}"/>
          </ac:grpSpMkLst>
        </pc:grpChg>
        <pc:picChg chg="add mod">
          <ac:chgData name="Elliot RASCH" userId="2f4a8af0-b35f-4610-9bc2-bfab6d4d3e11" providerId="ADAL" clId="{A51B066E-7055-4FD4-A838-6978105183AF}" dt="2021-09-25T15:47:56.899" v="2333" actId="1076"/>
          <ac:picMkLst>
            <pc:docMk/>
            <pc:sldMk cId="197435380" sldId="464"/>
            <ac:picMk id="8" creationId="{BFD86751-A770-4010-86EC-EDC0179504BE}"/>
          </ac:picMkLst>
        </pc:picChg>
        <pc:picChg chg="del">
          <ac:chgData name="Elliot RASCH" userId="2f4a8af0-b35f-4610-9bc2-bfab6d4d3e11" providerId="ADAL" clId="{A51B066E-7055-4FD4-A838-6978105183AF}" dt="2021-09-25T15:45:20.995" v="2321" actId="478"/>
          <ac:picMkLst>
            <pc:docMk/>
            <pc:sldMk cId="197435380" sldId="464"/>
            <ac:picMk id="21" creationId="{94AEE154-97B4-4BCF-B608-4AC72BF33B6B}"/>
          </ac:picMkLst>
        </pc:picChg>
      </pc:sldChg>
      <pc:sldChg chg="addSp delSp modSp add del mod ord modAnim modShow modNotesTx">
        <pc:chgData name="Elliot RASCH" userId="2f4a8af0-b35f-4610-9bc2-bfab6d4d3e11" providerId="ADAL" clId="{A51B066E-7055-4FD4-A838-6978105183AF}" dt="2021-09-29T16:06:53.296" v="5596" actId="47"/>
        <pc:sldMkLst>
          <pc:docMk/>
          <pc:sldMk cId="3037514512" sldId="465"/>
        </pc:sldMkLst>
        <pc:picChg chg="add mod modCrop">
          <ac:chgData name="Elliot RASCH" userId="2f4a8af0-b35f-4610-9bc2-bfab6d4d3e11" providerId="ADAL" clId="{A51B066E-7055-4FD4-A838-6978105183AF}" dt="2021-09-25T15:49:06.253" v="2357" actId="1036"/>
          <ac:picMkLst>
            <pc:docMk/>
            <pc:sldMk cId="3037514512" sldId="465"/>
            <ac:picMk id="3" creationId="{69FC9933-F5AC-4CDA-805C-9E4C092CB9F3}"/>
          </ac:picMkLst>
        </pc:picChg>
        <pc:picChg chg="add mod">
          <ac:chgData name="Elliot RASCH" userId="2f4a8af0-b35f-4610-9bc2-bfab6d4d3e11" providerId="ADAL" clId="{A51B066E-7055-4FD4-A838-6978105183AF}" dt="2021-09-25T15:50:49.485" v="2371" actId="1076"/>
          <ac:picMkLst>
            <pc:docMk/>
            <pc:sldMk cId="3037514512" sldId="465"/>
            <ac:picMk id="5" creationId="{F1DBA8BE-1EB2-43FF-A280-9006D69E9F5B}"/>
          </ac:picMkLst>
        </pc:picChg>
        <pc:picChg chg="add mod">
          <ac:chgData name="Elliot RASCH" userId="2f4a8af0-b35f-4610-9bc2-bfab6d4d3e11" providerId="ADAL" clId="{A51B066E-7055-4FD4-A838-6978105183AF}" dt="2021-09-25T15:57:01.430" v="2438" actId="1076"/>
          <ac:picMkLst>
            <pc:docMk/>
            <pc:sldMk cId="3037514512" sldId="465"/>
            <ac:picMk id="7" creationId="{3966C544-126F-45CF-BBDE-F0D5FCB30376}"/>
          </ac:picMkLst>
        </pc:picChg>
        <pc:picChg chg="del">
          <ac:chgData name="Elliot RASCH" userId="2f4a8af0-b35f-4610-9bc2-bfab6d4d3e11" providerId="ADAL" clId="{A51B066E-7055-4FD4-A838-6978105183AF}" dt="2021-09-25T15:48:30.009" v="2336" actId="478"/>
          <ac:picMkLst>
            <pc:docMk/>
            <pc:sldMk cId="3037514512" sldId="465"/>
            <ac:picMk id="8" creationId="{BFD86751-A770-4010-86EC-EDC0179504BE}"/>
          </ac:picMkLst>
        </pc:picChg>
        <pc:picChg chg="add mod modCrop">
          <ac:chgData name="Elliot RASCH" userId="2f4a8af0-b35f-4610-9bc2-bfab6d4d3e11" providerId="ADAL" clId="{A51B066E-7055-4FD4-A838-6978105183AF}" dt="2021-09-25T15:57:12.224" v="2443" actId="1076"/>
          <ac:picMkLst>
            <pc:docMk/>
            <pc:sldMk cId="3037514512" sldId="465"/>
            <ac:picMk id="10" creationId="{4F8F9E9D-E833-4CAC-8174-DC084A7F855B}"/>
          </ac:picMkLst>
        </pc:picChg>
      </pc:sldChg>
      <pc:sldChg chg="addSp delSp modSp add mod ord addCm modCm modNotesTx">
        <pc:chgData name="Elliot RASCH" userId="2f4a8af0-b35f-4610-9bc2-bfab6d4d3e11" providerId="ADAL" clId="{A51B066E-7055-4FD4-A838-6978105183AF}" dt="2021-10-04T11:38:20.847" v="9643" actId="20577"/>
        <pc:sldMkLst>
          <pc:docMk/>
          <pc:sldMk cId="3768523349" sldId="466"/>
        </pc:sldMkLst>
        <pc:spChg chg="add mod">
          <ac:chgData name="Elliot RASCH" userId="2f4a8af0-b35f-4610-9bc2-bfab6d4d3e11" providerId="ADAL" clId="{A51B066E-7055-4FD4-A838-6978105183AF}" dt="2021-09-29T15:40:22.100" v="5052" actId="20577"/>
          <ac:spMkLst>
            <pc:docMk/>
            <pc:sldMk cId="3768523349" sldId="466"/>
            <ac:spMk id="5" creationId="{8B42332C-E03B-4F53-B7CE-BC37999C8DC8}"/>
          </ac:spMkLst>
        </pc:spChg>
        <pc:spChg chg="mod">
          <ac:chgData name="Elliot RASCH" userId="2f4a8af0-b35f-4610-9bc2-bfab6d4d3e11" providerId="ADAL" clId="{A51B066E-7055-4FD4-A838-6978105183AF}" dt="2021-09-29T16:13:17.839" v="5631"/>
          <ac:spMkLst>
            <pc:docMk/>
            <pc:sldMk cId="3768523349" sldId="466"/>
            <ac:spMk id="14" creationId="{ADE24960-3DC1-4F40-8705-D09E167A0C53}"/>
          </ac:spMkLst>
        </pc:spChg>
        <pc:spChg chg="del mod">
          <ac:chgData name="Elliot RASCH" userId="2f4a8af0-b35f-4610-9bc2-bfab6d4d3e11" providerId="ADAL" clId="{A51B066E-7055-4FD4-A838-6978105183AF}" dt="2021-09-26T20:03:55.327" v="2775"/>
          <ac:spMkLst>
            <pc:docMk/>
            <pc:sldMk cId="3768523349" sldId="466"/>
            <ac:spMk id="15" creationId="{876AB4B5-129A-7F43-9340-1BAF49B9B459}"/>
          </ac:spMkLst>
        </pc:spChg>
        <pc:grpChg chg="add mod">
          <ac:chgData name="Elliot RASCH" userId="2f4a8af0-b35f-4610-9bc2-bfab6d4d3e11" providerId="ADAL" clId="{A51B066E-7055-4FD4-A838-6978105183AF}" dt="2021-10-04T11:35:27.005" v="9642" actId="1076"/>
          <ac:grpSpMkLst>
            <pc:docMk/>
            <pc:sldMk cId="3768523349" sldId="466"/>
            <ac:grpSpMk id="17" creationId="{A259B8C5-CF0E-41D6-87C9-38ADA558328A}"/>
          </ac:grpSpMkLst>
        </pc:grpChg>
        <pc:graphicFrameChg chg="add mod modGraphic">
          <ac:chgData name="Elliot RASCH" userId="2f4a8af0-b35f-4610-9bc2-bfab6d4d3e11" providerId="ADAL" clId="{A51B066E-7055-4FD4-A838-6978105183AF}" dt="2021-10-04T11:38:20.847" v="9643" actId="20577"/>
          <ac:graphicFrameMkLst>
            <pc:docMk/>
            <pc:sldMk cId="3768523349" sldId="466"/>
            <ac:graphicFrameMk id="2" creationId="{6A0EECAD-3F4D-4D4D-85CD-0E1ABE4D71F3}"/>
          </ac:graphicFrameMkLst>
        </pc:graphicFrameChg>
        <pc:picChg chg="add del mod modCrop">
          <ac:chgData name="Elliot RASCH" userId="2f4a8af0-b35f-4610-9bc2-bfab6d4d3e11" providerId="ADAL" clId="{A51B066E-7055-4FD4-A838-6978105183AF}" dt="2021-09-29T15:52:38.110" v="5335" actId="478"/>
          <ac:picMkLst>
            <pc:docMk/>
            <pc:sldMk cId="3768523349" sldId="466"/>
            <ac:picMk id="4" creationId="{0AB81DC3-B1FF-4ABC-875C-DCA36ABE158C}"/>
          </ac:picMkLst>
        </pc:picChg>
        <pc:picChg chg="add del mod">
          <ac:chgData name="Elliot RASCH" userId="2f4a8af0-b35f-4610-9bc2-bfab6d4d3e11" providerId="ADAL" clId="{A51B066E-7055-4FD4-A838-6978105183AF}" dt="2021-09-29T15:52:38.852" v="5336" actId="478"/>
          <ac:picMkLst>
            <pc:docMk/>
            <pc:sldMk cId="3768523349" sldId="466"/>
            <ac:picMk id="7" creationId="{15D3A026-AF3B-45E6-AAE1-6AF976F8CF66}"/>
          </ac:picMkLst>
        </pc:picChg>
        <pc:picChg chg="add mod">
          <ac:chgData name="Elliot RASCH" userId="2f4a8af0-b35f-4610-9bc2-bfab6d4d3e11" providerId="ADAL" clId="{A51B066E-7055-4FD4-A838-6978105183AF}" dt="2021-09-29T15:55:55.064" v="5425" actId="1036"/>
          <ac:picMkLst>
            <pc:docMk/>
            <pc:sldMk cId="3768523349" sldId="466"/>
            <ac:picMk id="9" creationId="{838E8CFE-3FEB-4510-88BD-A3FA6017B27F}"/>
          </ac:picMkLst>
        </pc:picChg>
        <pc:picChg chg="add mod">
          <ac:chgData name="Elliot RASCH" userId="2f4a8af0-b35f-4610-9bc2-bfab6d4d3e11" providerId="ADAL" clId="{A51B066E-7055-4FD4-A838-6978105183AF}" dt="2021-09-29T15:54:59.218" v="5380" actId="164"/>
          <ac:picMkLst>
            <pc:docMk/>
            <pc:sldMk cId="3768523349" sldId="466"/>
            <ac:picMk id="11" creationId="{1D49FA15-0762-42CC-A7BF-067E5B9CD9CF}"/>
          </ac:picMkLst>
        </pc:picChg>
        <pc:picChg chg="add mod">
          <ac:chgData name="Elliot RASCH" userId="2f4a8af0-b35f-4610-9bc2-bfab6d4d3e11" providerId="ADAL" clId="{A51B066E-7055-4FD4-A838-6978105183AF}" dt="2021-09-29T15:55:46.186" v="5419" actId="1036"/>
          <ac:picMkLst>
            <pc:docMk/>
            <pc:sldMk cId="3768523349" sldId="466"/>
            <ac:picMk id="13" creationId="{43ED2155-F9D3-41A6-8A92-61494F26F6D9}"/>
          </ac:picMkLst>
        </pc:picChg>
        <pc:picChg chg="add mod">
          <ac:chgData name="Elliot RASCH" userId="2f4a8af0-b35f-4610-9bc2-bfab6d4d3e11" providerId="ADAL" clId="{A51B066E-7055-4FD4-A838-6978105183AF}" dt="2021-09-29T15:54:59.218" v="5380" actId="164"/>
          <ac:picMkLst>
            <pc:docMk/>
            <pc:sldMk cId="3768523349" sldId="466"/>
            <ac:picMk id="16" creationId="{591E9152-3274-4E76-BBC8-E442CE54F3BE}"/>
          </ac:picMkLst>
        </pc:picChg>
      </pc:sldChg>
      <pc:sldChg chg="addSp modSp add mod">
        <pc:chgData name="Elliot RASCH" userId="2f4a8af0-b35f-4610-9bc2-bfab6d4d3e11" providerId="ADAL" clId="{A51B066E-7055-4FD4-A838-6978105183AF}" dt="2021-10-04T06:03:08.064" v="8944" actId="207"/>
        <pc:sldMkLst>
          <pc:docMk/>
          <pc:sldMk cId="2889930414" sldId="467"/>
        </pc:sldMkLst>
        <pc:spChg chg="add mod">
          <ac:chgData name="Elliot RASCH" userId="2f4a8af0-b35f-4610-9bc2-bfab6d4d3e11" providerId="ADAL" clId="{A51B066E-7055-4FD4-A838-6978105183AF}" dt="2021-09-26T20:10:48.380" v="2949" actId="20577"/>
          <ac:spMkLst>
            <pc:docMk/>
            <pc:sldMk cId="2889930414" sldId="467"/>
            <ac:spMk id="4" creationId="{DAED5303-9386-4371-B9B0-CFC81F682F67}"/>
          </ac:spMkLst>
        </pc:spChg>
        <pc:grpChg chg="add mod">
          <ac:chgData name="Elliot RASCH" userId="2f4a8af0-b35f-4610-9bc2-bfab6d4d3e11" providerId="ADAL" clId="{A51B066E-7055-4FD4-A838-6978105183AF}" dt="2021-10-01T08:17:54.175" v="5676" actId="1076"/>
          <ac:grpSpMkLst>
            <pc:docMk/>
            <pc:sldMk cId="2889930414" sldId="467"/>
            <ac:grpSpMk id="5" creationId="{F3C15CFF-821F-4BED-9755-BD9139A05F62}"/>
          </ac:grpSpMkLst>
        </pc:grpChg>
        <pc:graphicFrameChg chg="mod modGraphic">
          <ac:chgData name="Elliot RASCH" userId="2f4a8af0-b35f-4610-9bc2-bfab6d4d3e11" providerId="ADAL" clId="{A51B066E-7055-4FD4-A838-6978105183AF}" dt="2021-10-04T06:03:08.064" v="8944" actId="207"/>
          <ac:graphicFrameMkLst>
            <pc:docMk/>
            <pc:sldMk cId="2889930414" sldId="467"/>
            <ac:graphicFrameMk id="2" creationId="{6A0EECAD-3F4D-4D4D-85CD-0E1ABE4D71F3}"/>
          </ac:graphicFrameMkLst>
        </pc:graphicFrameChg>
        <pc:picChg chg="mod">
          <ac:chgData name="Elliot RASCH" userId="2f4a8af0-b35f-4610-9bc2-bfab6d4d3e11" providerId="ADAL" clId="{A51B066E-7055-4FD4-A838-6978105183AF}" dt="2021-09-29T15:56:25.360" v="5465" actId="1036"/>
          <ac:picMkLst>
            <pc:docMk/>
            <pc:sldMk cId="2889930414" sldId="467"/>
            <ac:picMk id="6" creationId="{9952BCA8-2BB9-42AD-90F3-271FE52E9D01}"/>
          </ac:picMkLst>
        </pc:picChg>
        <pc:picChg chg="mod">
          <ac:chgData name="Elliot RASCH" userId="2f4a8af0-b35f-4610-9bc2-bfab6d4d3e11" providerId="ADAL" clId="{A51B066E-7055-4FD4-A838-6978105183AF}" dt="2021-09-29T15:56:30.802" v="5476" actId="1036"/>
          <ac:picMkLst>
            <pc:docMk/>
            <pc:sldMk cId="2889930414" sldId="467"/>
            <ac:picMk id="7" creationId="{57117003-FE95-4FFC-A832-75AA5A548409}"/>
          </ac:picMkLst>
        </pc:picChg>
        <pc:picChg chg="mod">
          <ac:chgData name="Elliot RASCH" userId="2f4a8af0-b35f-4610-9bc2-bfab6d4d3e11" providerId="ADAL" clId="{A51B066E-7055-4FD4-A838-6978105183AF}" dt="2021-09-29T15:56:18.735" v="5441" actId="1035"/>
          <ac:picMkLst>
            <pc:docMk/>
            <pc:sldMk cId="2889930414" sldId="467"/>
            <ac:picMk id="8" creationId="{66E299BB-3577-4020-8C9A-DB584B55B2B5}"/>
          </ac:picMkLst>
        </pc:picChg>
        <pc:picChg chg="mod">
          <ac:chgData name="Elliot RASCH" userId="2f4a8af0-b35f-4610-9bc2-bfab6d4d3e11" providerId="ADAL" clId="{A51B066E-7055-4FD4-A838-6978105183AF}" dt="2021-09-29T15:56:11.920" v="5428"/>
          <ac:picMkLst>
            <pc:docMk/>
            <pc:sldMk cId="2889930414" sldId="467"/>
            <ac:picMk id="9" creationId="{6D45CB36-4D61-4653-88EF-3603563B5D18}"/>
          </ac:picMkLst>
        </pc:picChg>
      </pc:sldChg>
      <pc:sldChg chg="modSp add del mod ord modShow modNotesTx">
        <pc:chgData name="Elliot RASCH" userId="2f4a8af0-b35f-4610-9bc2-bfab6d4d3e11" providerId="ADAL" clId="{A51B066E-7055-4FD4-A838-6978105183AF}" dt="2021-10-04T06:58:56.803" v="9244" actId="2696"/>
        <pc:sldMkLst>
          <pc:docMk/>
          <pc:sldMk cId="2471283942" sldId="468"/>
        </pc:sldMkLst>
        <pc:spChg chg="mod">
          <ac:chgData name="Elliot RASCH" userId="2f4a8af0-b35f-4610-9bc2-bfab6d4d3e11" providerId="ADAL" clId="{A51B066E-7055-4FD4-A838-6978105183AF}" dt="2021-10-01T14:33:25.339" v="8761" actId="20577"/>
          <ac:spMkLst>
            <pc:docMk/>
            <pc:sldMk cId="2471283942" sldId="468"/>
            <ac:spMk id="2" creationId="{2CEF1B7E-C78A-4E45-AF68-C88303977A3F}"/>
          </ac:spMkLst>
        </pc:spChg>
        <pc:spChg chg="mod">
          <ac:chgData name="Elliot RASCH" userId="2f4a8af0-b35f-4610-9bc2-bfab6d4d3e11" providerId="ADAL" clId="{A51B066E-7055-4FD4-A838-6978105183AF}" dt="2021-09-29T15:39:50.050" v="5029" actId="20577"/>
          <ac:spMkLst>
            <pc:docMk/>
            <pc:sldMk cId="2471283942" sldId="468"/>
            <ac:spMk id="14" creationId="{ADE24960-3DC1-4F40-8705-D09E167A0C53}"/>
          </ac:spMkLst>
        </pc:spChg>
        <pc:spChg chg="mod">
          <ac:chgData name="Elliot RASCH" userId="2f4a8af0-b35f-4610-9bc2-bfab6d4d3e11" providerId="ADAL" clId="{A51B066E-7055-4FD4-A838-6978105183AF}" dt="2021-09-29T14:23:13.561" v="3963" actId="1076"/>
          <ac:spMkLst>
            <pc:docMk/>
            <pc:sldMk cId="2471283942" sldId="468"/>
            <ac:spMk id="15" creationId="{876AB4B5-129A-7F43-9340-1BAF49B9B459}"/>
          </ac:spMkLst>
        </pc:spChg>
      </pc:sldChg>
      <pc:sldChg chg="addSp delSp modSp add del mod modAnim">
        <pc:chgData name="Elliot RASCH" userId="2f4a8af0-b35f-4610-9bc2-bfab6d4d3e11" providerId="ADAL" clId="{A51B066E-7055-4FD4-A838-6978105183AF}" dt="2021-09-29T14:24:09.716" v="3972" actId="47"/>
        <pc:sldMkLst>
          <pc:docMk/>
          <pc:sldMk cId="3773090221" sldId="469"/>
        </pc:sldMkLst>
        <pc:spChg chg="add del mod">
          <ac:chgData name="Elliot RASCH" userId="2f4a8af0-b35f-4610-9bc2-bfab6d4d3e11" providerId="ADAL" clId="{A51B066E-7055-4FD4-A838-6978105183AF}" dt="2021-09-29T13:45:42.717" v="3825" actId="478"/>
          <ac:spMkLst>
            <pc:docMk/>
            <pc:sldMk cId="3773090221" sldId="469"/>
            <ac:spMk id="4" creationId="{19CF6A30-DB5C-4093-AEFC-FB4349D6A2C7}"/>
          </ac:spMkLst>
        </pc:spChg>
        <pc:spChg chg="mod">
          <ac:chgData name="Elliot RASCH" userId="2f4a8af0-b35f-4610-9bc2-bfab6d4d3e11" providerId="ADAL" clId="{A51B066E-7055-4FD4-A838-6978105183AF}" dt="2021-09-29T13:46:45.239" v="3848" actId="20577"/>
          <ac:spMkLst>
            <pc:docMk/>
            <pc:sldMk cId="3773090221" sldId="469"/>
            <ac:spMk id="6" creationId="{5E20247E-8AE2-9546-88DF-24BBEFC7E0A2}"/>
          </ac:spMkLst>
        </pc:spChg>
        <pc:spChg chg="add del mod">
          <ac:chgData name="Elliot RASCH" userId="2f4a8af0-b35f-4610-9bc2-bfab6d4d3e11" providerId="ADAL" clId="{A51B066E-7055-4FD4-A838-6978105183AF}" dt="2021-09-29T13:48:18.868" v="3869" actId="21"/>
          <ac:spMkLst>
            <pc:docMk/>
            <pc:sldMk cId="3773090221" sldId="469"/>
            <ac:spMk id="7" creationId="{2DC780C4-F5E7-4CD6-B3BF-CCC7820A3111}"/>
          </ac:spMkLst>
        </pc:spChg>
        <pc:spChg chg="del mod">
          <ac:chgData name="Elliot RASCH" userId="2f4a8af0-b35f-4610-9bc2-bfab6d4d3e11" providerId="ADAL" clId="{A51B066E-7055-4FD4-A838-6978105183AF}" dt="2021-09-29T13:45:40.374" v="3823" actId="478"/>
          <ac:spMkLst>
            <pc:docMk/>
            <pc:sldMk cId="3773090221" sldId="469"/>
            <ac:spMk id="114" creationId="{00000000-0000-0000-0000-000000000000}"/>
          </ac:spMkLst>
        </pc:spChg>
        <pc:picChg chg="del">
          <ac:chgData name="Elliot RASCH" userId="2f4a8af0-b35f-4610-9bc2-bfab6d4d3e11" providerId="ADAL" clId="{A51B066E-7055-4FD4-A838-6978105183AF}" dt="2021-09-29T13:45:41.201" v="3824" actId="478"/>
          <ac:picMkLst>
            <pc:docMk/>
            <pc:sldMk cId="3773090221" sldId="469"/>
            <ac:picMk id="3" creationId="{3D77C924-8ACB-4330-8CDC-607FDAA26365}"/>
          </ac:picMkLst>
        </pc:picChg>
        <pc:picChg chg="add mod">
          <ac:chgData name="Elliot RASCH" userId="2f4a8af0-b35f-4610-9bc2-bfab6d4d3e11" providerId="ADAL" clId="{A51B066E-7055-4FD4-A838-6978105183AF}" dt="2021-09-29T13:47:28.167" v="3862" actId="1076"/>
          <ac:picMkLst>
            <pc:docMk/>
            <pc:sldMk cId="3773090221" sldId="469"/>
            <ac:picMk id="5" creationId="{2AF94652-AB3D-4B7C-B262-27E4A48A497A}"/>
          </ac:picMkLst>
        </pc:picChg>
      </pc:sldChg>
      <pc:sldChg chg="delSp modSp add del mod modShow">
        <pc:chgData name="Elliot RASCH" userId="2f4a8af0-b35f-4610-9bc2-bfab6d4d3e11" providerId="ADAL" clId="{A51B066E-7055-4FD4-A838-6978105183AF}" dt="2021-09-29T15:38:23.539" v="4989" actId="2696"/>
        <pc:sldMkLst>
          <pc:docMk/>
          <pc:sldMk cId="1280908255" sldId="470"/>
        </pc:sldMkLst>
        <pc:spChg chg="mod">
          <ac:chgData name="Elliot RASCH" userId="2f4a8af0-b35f-4610-9bc2-bfab6d4d3e11" providerId="ADAL" clId="{A51B066E-7055-4FD4-A838-6978105183AF}" dt="2021-09-29T14:24:07.213" v="3971" actId="20577"/>
          <ac:spMkLst>
            <pc:docMk/>
            <pc:sldMk cId="1280908255" sldId="470"/>
            <ac:spMk id="6" creationId="{5E20247E-8AE2-9546-88DF-24BBEFC7E0A2}"/>
          </ac:spMkLst>
        </pc:spChg>
        <pc:picChg chg="del">
          <ac:chgData name="Elliot RASCH" userId="2f4a8af0-b35f-4610-9bc2-bfab6d4d3e11" providerId="ADAL" clId="{A51B066E-7055-4FD4-A838-6978105183AF}" dt="2021-09-29T13:45:33.991" v="3821" actId="478"/>
          <ac:picMkLst>
            <pc:docMk/>
            <pc:sldMk cId="1280908255" sldId="470"/>
            <ac:picMk id="3" creationId="{3D77C924-8ACB-4330-8CDC-607FDAA26365}"/>
          </ac:picMkLst>
        </pc:picChg>
      </pc:sldChg>
      <pc:sldChg chg="addSp delSp modSp add mod ord modAnim addCm delCm modNotesTx">
        <pc:chgData name="Elliot RASCH" userId="2f4a8af0-b35f-4610-9bc2-bfab6d4d3e11" providerId="ADAL" clId="{A51B066E-7055-4FD4-A838-6978105183AF}" dt="2021-10-01T09:55:08.190" v="6371" actId="20577"/>
        <pc:sldMkLst>
          <pc:docMk/>
          <pc:sldMk cId="1771016552" sldId="471"/>
        </pc:sldMkLst>
        <pc:spChg chg="del">
          <ac:chgData name="Elliot RASCH" userId="2f4a8af0-b35f-4610-9bc2-bfab6d4d3e11" providerId="ADAL" clId="{A51B066E-7055-4FD4-A838-6978105183AF}" dt="2021-09-29T13:48:40.292" v="3872" actId="478"/>
          <ac:spMkLst>
            <pc:docMk/>
            <pc:sldMk cId="1771016552" sldId="471"/>
            <ac:spMk id="2" creationId="{2CEF1B7E-C78A-4E45-AF68-C88303977A3F}"/>
          </ac:spMkLst>
        </pc:spChg>
        <pc:spChg chg="add del mod">
          <ac:chgData name="Elliot RASCH" userId="2f4a8af0-b35f-4610-9bc2-bfab6d4d3e11" providerId="ADAL" clId="{A51B066E-7055-4FD4-A838-6978105183AF}" dt="2021-09-29T14:28:03.182" v="4162" actId="478"/>
          <ac:spMkLst>
            <pc:docMk/>
            <pc:sldMk cId="1771016552" sldId="471"/>
            <ac:spMk id="3" creationId="{52F42778-9BEA-46E3-876C-AAE3E8D627FE}"/>
          </ac:spMkLst>
        </pc:spChg>
        <pc:spChg chg="add del mod">
          <ac:chgData name="Elliot RASCH" userId="2f4a8af0-b35f-4610-9bc2-bfab6d4d3e11" providerId="ADAL" clId="{A51B066E-7055-4FD4-A838-6978105183AF}" dt="2021-09-29T14:24:42.741" v="3979" actId="478"/>
          <ac:spMkLst>
            <pc:docMk/>
            <pc:sldMk cId="1771016552" sldId="471"/>
            <ac:spMk id="6" creationId="{EB5BC08D-D168-461F-BCC8-84F283DD60A7}"/>
          </ac:spMkLst>
        </pc:spChg>
        <pc:spChg chg="add mod">
          <ac:chgData name="Elliot RASCH" userId="2f4a8af0-b35f-4610-9bc2-bfab6d4d3e11" providerId="ADAL" clId="{A51B066E-7055-4FD4-A838-6978105183AF}" dt="2021-10-01T08:59:36.933" v="5880" actId="1076"/>
          <ac:spMkLst>
            <pc:docMk/>
            <pc:sldMk cId="1771016552" sldId="471"/>
            <ac:spMk id="7" creationId="{39DDE29E-84F9-41B1-A100-D22A8C73FF08}"/>
          </ac:spMkLst>
        </pc:spChg>
        <pc:spChg chg="add mod">
          <ac:chgData name="Elliot RASCH" userId="2f4a8af0-b35f-4610-9bc2-bfab6d4d3e11" providerId="ADAL" clId="{A51B066E-7055-4FD4-A838-6978105183AF}" dt="2021-09-29T14:30:34.405" v="4231" actId="20577"/>
          <ac:spMkLst>
            <pc:docMk/>
            <pc:sldMk cId="1771016552" sldId="471"/>
            <ac:spMk id="8" creationId="{B0ED2DD0-FFF4-4900-9058-6B9BC692F09C}"/>
          </ac:spMkLst>
        </pc:spChg>
        <pc:spChg chg="add mod topLvl">
          <ac:chgData name="Elliot RASCH" userId="2f4a8af0-b35f-4610-9bc2-bfab6d4d3e11" providerId="ADAL" clId="{A51B066E-7055-4FD4-A838-6978105183AF}" dt="2021-10-01T09:54:54.278" v="6370" actId="20577"/>
          <ac:spMkLst>
            <pc:docMk/>
            <pc:sldMk cId="1771016552" sldId="471"/>
            <ac:spMk id="10" creationId="{B415D678-5BF6-459A-A6B8-E90E5AB007DC}"/>
          </ac:spMkLst>
        </pc:spChg>
        <pc:spChg chg="add mod topLvl">
          <ac:chgData name="Elliot RASCH" userId="2f4a8af0-b35f-4610-9bc2-bfab6d4d3e11" providerId="ADAL" clId="{A51B066E-7055-4FD4-A838-6978105183AF}" dt="2021-10-01T09:51:57.379" v="6313" actId="165"/>
          <ac:spMkLst>
            <pc:docMk/>
            <pc:sldMk cId="1771016552" sldId="471"/>
            <ac:spMk id="11" creationId="{A31F2C4B-1B44-4AA8-A00E-8BCCCAA6A5E7}"/>
          </ac:spMkLst>
        </pc:spChg>
        <pc:spChg chg="add del mod">
          <ac:chgData name="Elliot RASCH" userId="2f4a8af0-b35f-4610-9bc2-bfab6d4d3e11" providerId="ADAL" clId="{A51B066E-7055-4FD4-A838-6978105183AF}" dt="2021-10-01T08:59:21.511" v="5878"/>
          <ac:spMkLst>
            <pc:docMk/>
            <pc:sldMk cId="1771016552" sldId="471"/>
            <ac:spMk id="13" creationId="{D8EDF3B0-EF20-44F8-916E-A0AAE9BAF9C0}"/>
          </ac:spMkLst>
        </pc:spChg>
        <pc:spChg chg="del">
          <ac:chgData name="Elliot RASCH" userId="2f4a8af0-b35f-4610-9bc2-bfab6d4d3e11" providerId="ADAL" clId="{A51B066E-7055-4FD4-A838-6978105183AF}" dt="2021-09-29T13:48:44.784" v="3873" actId="478"/>
          <ac:spMkLst>
            <pc:docMk/>
            <pc:sldMk cId="1771016552" sldId="471"/>
            <ac:spMk id="14" creationId="{ADE24960-3DC1-4F40-8705-D09E167A0C53}"/>
          </ac:spMkLst>
        </pc:spChg>
        <pc:spChg chg="add mod">
          <ac:chgData name="Elliot RASCH" userId="2f4a8af0-b35f-4610-9bc2-bfab6d4d3e11" providerId="ADAL" clId="{A51B066E-7055-4FD4-A838-6978105183AF}" dt="2021-10-01T09:55:08.190" v="6371" actId="20577"/>
          <ac:spMkLst>
            <pc:docMk/>
            <pc:sldMk cId="1771016552" sldId="471"/>
            <ac:spMk id="14" creationId="{F0A5EBB4-7FD4-42DE-8184-63501C2AF76B}"/>
          </ac:spMkLst>
        </pc:spChg>
        <pc:spChg chg="del">
          <ac:chgData name="Elliot RASCH" userId="2f4a8af0-b35f-4610-9bc2-bfab6d4d3e11" providerId="ADAL" clId="{A51B066E-7055-4FD4-A838-6978105183AF}" dt="2021-09-29T13:48:45.852" v="3874" actId="478"/>
          <ac:spMkLst>
            <pc:docMk/>
            <pc:sldMk cId="1771016552" sldId="471"/>
            <ac:spMk id="15" creationId="{876AB4B5-129A-7F43-9340-1BAF49B9B459}"/>
          </ac:spMkLst>
        </pc:spChg>
        <pc:spChg chg="add mod topLvl">
          <ac:chgData name="Elliot RASCH" userId="2f4a8af0-b35f-4610-9bc2-bfab6d4d3e11" providerId="ADAL" clId="{A51B066E-7055-4FD4-A838-6978105183AF}" dt="2021-10-01T09:51:57.379" v="6313" actId="165"/>
          <ac:spMkLst>
            <pc:docMk/>
            <pc:sldMk cId="1771016552" sldId="471"/>
            <ac:spMk id="16" creationId="{DE1C7538-0CA9-42E4-A9F4-E85013256979}"/>
          </ac:spMkLst>
        </pc:spChg>
        <pc:grpChg chg="add mod">
          <ac:chgData name="Elliot RASCH" userId="2f4a8af0-b35f-4610-9bc2-bfab6d4d3e11" providerId="ADAL" clId="{A51B066E-7055-4FD4-A838-6978105183AF}" dt="2021-10-01T09:53:10.545" v="6363" actId="1076"/>
          <ac:grpSpMkLst>
            <pc:docMk/>
            <pc:sldMk cId="1771016552" sldId="471"/>
            <ac:grpSpMk id="2" creationId="{B7454A70-DA2B-4C1F-993D-30799D66494D}"/>
          </ac:grpSpMkLst>
        </pc:grpChg>
        <pc:grpChg chg="add del mod">
          <ac:chgData name="Elliot RASCH" userId="2f4a8af0-b35f-4610-9bc2-bfab6d4d3e11" providerId="ADAL" clId="{A51B066E-7055-4FD4-A838-6978105183AF}" dt="2021-10-01T09:51:57.379" v="6313" actId="165"/>
          <ac:grpSpMkLst>
            <pc:docMk/>
            <pc:sldMk cId="1771016552" sldId="471"/>
            <ac:grpSpMk id="12" creationId="{881E8A8A-CBC8-4FE0-96FC-7698FB236772}"/>
          </ac:grpSpMkLst>
        </pc:grpChg>
        <pc:picChg chg="add mod">
          <ac:chgData name="Elliot RASCH" userId="2f4a8af0-b35f-4610-9bc2-bfab6d4d3e11" providerId="ADAL" clId="{A51B066E-7055-4FD4-A838-6978105183AF}" dt="2021-09-29T14:24:53.928" v="3983" actId="1076"/>
          <ac:picMkLst>
            <pc:docMk/>
            <pc:sldMk cId="1771016552" sldId="471"/>
            <ac:picMk id="5" creationId="{81C551B4-B9F6-4BCE-8B69-D2962FCF6268}"/>
          </ac:picMkLst>
        </pc:picChg>
        <pc:picChg chg="add mod topLvl">
          <ac:chgData name="Elliot RASCH" userId="2f4a8af0-b35f-4610-9bc2-bfab6d4d3e11" providerId="ADAL" clId="{A51B066E-7055-4FD4-A838-6978105183AF}" dt="2021-10-01T09:52:59.630" v="6362" actId="164"/>
          <ac:picMkLst>
            <pc:docMk/>
            <pc:sldMk cId="1771016552" sldId="471"/>
            <ac:picMk id="9" creationId="{DA2DF02D-4E13-417D-8102-CD3F22C9B97F}"/>
          </ac:picMkLst>
        </pc:picChg>
      </pc:sldChg>
      <pc:sldChg chg="addSp modSp add mod ord modNotesTx">
        <pc:chgData name="Elliot RASCH" userId="2f4a8af0-b35f-4610-9bc2-bfab6d4d3e11" providerId="ADAL" clId="{A51B066E-7055-4FD4-A838-6978105183AF}" dt="2021-10-04T07:37:51.921" v="9534" actId="20577"/>
        <pc:sldMkLst>
          <pc:docMk/>
          <pc:sldMk cId="1324698650" sldId="472"/>
        </pc:sldMkLst>
        <pc:grpChg chg="add mod">
          <ac:chgData name="Elliot RASCH" userId="2f4a8af0-b35f-4610-9bc2-bfab6d4d3e11" providerId="ADAL" clId="{A51B066E-7055-4FD4-A838-6978105183AF}" dt="2021-09-29T15:56:41.108" v="5503" actId="1036"/>
          <ac:grpSpMkLst>
            <pc:docMk/>
            <pc:sldMk cId="1324698650" sldId="472"/>
            <ac:grpSpMk id="6" creationId="{AA67DC3A-E2F6-4AFE-9AE0-E6246013628F}"/>
          </ac:grpSpMkLst>
        </pc:grpChg>
        <pc:graphicFrameChg chg="mod modGraphic">
          <ac:chgData name="Elliot RASCH" userId="2f4a8af0-b35f-4610-9bc2-bfab6d4d3e11" providerId="ADAL" clId="{A51B066E-7055-4FD4-A838-6978105183AF}" dt="2021-10-04T06:26:50.411" v="9241" actId="14100"/>
          <ac:graphicFrameMkLst>
            <pc:docMk/>
            <pc:sldMk cId="1324698650" sldId="472"/>
            <ac:graphicFrameMk id="2" creationId="{6A0EECAD-3F4D-4D4D-85CD-0E1ABE4D71F3}"/>
          </ac:graphicFrameMkLst>
        </pc:graphicFrameChg>
        <pc:picChg chg="mod">
          <ac:chgData name="Elliot RASCH" userId="2f4a8af0-b35f-4610-9bc2-bfab6d4d3e11" providerId="ADAL" clId="{A51B066E-7055-4FD4-A838-6978105183AF}" dt="2021-09-29T15:56:00.122" v="5426"/>
          <ac:picMkLst>
            <pc:docMk/>
            <pc:sldMk cId="1324698650" sldId="472"/>
            <ac:picMk id="7" creationId="{7869D1D6-7064-4999-8648-556F3C887905}"/>
          </ac:picMkLst>
        </pc:picChg>
        <pc:picChg chg="mod">
          <ac:chgData name="Elliot RASCH" userId="2f4a8af0-b35f-4610-9bc2-bfab6d4d3e11" providerId="ADAL" clId="{A51B066E-7055-4FD4-A838-6978105183AF}" dt="2021-09-29T15:56:34.184" v="5487" actId="1035"/>
          <ac:picMkLst>
            <pc:docMk/>
            <pc:sldMk cId="1324698650" sldId="472"/>
            <ac:picMk id="8" creationId="{8E9ADB0A-C688-49F7-9186-5F2DDBB255B2}"/>
          </ac:picMkLst>
        </pc:picChg>
        <pc:picChg chg="mod">
          <ac:chgData name="Elliot RASCH" userId="2f4a8af0-b35f-4610-9bc2-bfab6d4d3e11" providerId="ADAL" clId="{A51B066E-7055-4FD4-A838-6978105183AF}" dt="2021-09-29T15:56:39.571" v="5502" actId="1036"/>
          <ac:picMkLst>
            <pc:docMk/>
            <pc:sldMk cId="1324698650" sldId="472"/>
            <ac:picMk id="9" creationId="{E84782E1-644C-444C-98E7-E859FBFD2B4A}"/>
          </ac:picMkLst>
        </pc:picChg>
        <pc:picChg chg="mod">
          <ac:chgData name="Elliot RASCH" userId="2f4a8af0-b35f-4610-9bc2-bfab6d4d3e11" providerId="ADAL" clId="{A51B066E-7055-4FD4-A838-6978105183AF}" dt="2021-09-29T15:56:36.864" v="5498" actId="1036"/>
          <ac:picMkLst>
            <pc:docMk/>
            <pc:sldMk cId="1324698650" sldId="472"/>
            <ac:picMk id="10" creationId="{4DDCD163-9C22-4F1B-867C-3EC076534BB2}"/>
          </ac:picMkLst>
        </pc:picChg>
      </pc:sldChg>
      <pc:sldChg chg="addSp delSp modSp add mod ord">
        <pc:chgData name="Elliot RASCH" userId="2f4a8af0-b35f-4610-9bc2-bfab6d4d3e11" providerId="ADAL" clId="{A51B066E-7055-4FD4-A838-6978105183AF}" dt="2021-10-04T08:22:52.962" v="9605" actId="20577"/>
        <pc:sldMkLst>
          <pc:docMk/>
          <pc:sldMk cId="2088034320" sldId="473"/>
        </pc:sldMkLst>
        <pc:spChg chg="mod">
          <ac:chgData name="Elliot RASCH" userId="2f4a8af0-b35f-4610-9bc2-bfab6d4d3e11" providerId="ADAL" clId="{A51B066E-7055-4FD4-A838-6978105183AF}" dt="2021-10-04T08:22:52.962" v="9605" actId="20577"/>
          <ac:spMkLst>
            <pc:docMk/>
            <pc:sldMk cId="2088034320" sldId="473"/>
            <ac:spMk id="2" creationId="{2CEF1B7E-C78A-4E45-AF68-C88303977A3F}"/>
          </ac:spMkLst>
        </pc:spChg>
        <pc:spChg chg="add del mod">
          <ac:chgData name="Elliot RASCH" userId="2f4a8af0-b35f-4610-9bc2-bfab6d4d3e11" providerId="ADAL" clId="{A51B066E-7055-4FD4-A838-6978105183AF}" dt="2021-09-29T15:59:45.658" v="5563"/>
          <ac:spMkLst>
            <pc:docMk/>
            <pc:sldMk cId="2088034320" sldId="473"/>
            <ac:spMk id="5" creationId="{FC2C59C4-DB00-45B4-84C4-6228A09B1D1E}"/>
          </ac:spMkLst>
        </pc:spChg>
        <pc:spChg chg="add del mod">
          <ac:chgData name="Elliot RASCH" userId="2f4a8af0-b35f-4610-9bc2-bfab6d4d3e11" providerId="ADAL" clId="{A51B066E-7055-4FD4-A838-6978105183AF}" dt="2021-09-29T15:59:45.372" v="5562"/>
          <ac:spMkLst>
            <pc:docMk/>
            <pc:sldMk cId="2088034320" sldId="473"/>
            <ac:spMk id="6" creationId="{20A3A8F2-2689-4D0D-BD68-AABD05D5E7A7}"/>
          </ac:spMkLst>
        </pc:spChg>
        <pc:spChg chg="mod">
          <ac:chgData name="Elliot RASCH" userId="2f4a8af0-b35f-4610-9bc2-bfab6d4d3e11" providerId="ADAL" clId="{A51B066E-7055-4FD4-A838-6978105183AF}" dt="2021-09-29T15:58:47.321" v="5519" actId="20577"/>
          <ac:spMkLst>
            <pc:docMk/>
            <pc:sldMk cId="2088034320" sldId="473"/>
            <ac:spMk id="14" creationId="{ADE24960-3DC1-4F40-8705-D09E167A0C53}"/>
          </ac:spMkLst>
        </pc:spChg>
        <pc:spChg chg="add del mod">
          <ac:chgData name="Elliot RASCH" userId="2f4a8af0-b35f-4610-9bc2-bfab6d4d3e11" providerId="ADAL" clId="{A51B066E-7055-4FD4-A838-6978105183AF}" dt="2021-09-29T15:59:48.332" v="5564" actId="478"/>
          <ac:spMkLst>
            <pc:docMk/>
            <pc:sldMk cId="2088034320" sldId="473"/>
            <ac:spMk id="15" creationId="{876AB4B5-129A-7F43-9340-1BAF49B9B459}"/>
          </ac:spMkLst>
        </pc:spChg>
      </pc:sldChg>
      <pc:sldChg chg="delSp modSp add mod">
        <pc:chgData name="Elliot RASCH" userId="2f4a8af0-b35f-4610-9bc2-bfab6d4d3e11" providerId="ADAL" clId="{A51B066E-7055-4FD4-A838-6978105183AF}" dt="2021-10-01T13:58:51.403" v="7435" actId="1076"/>
        <pc:sldMkLst>
          <pc:docMk/>
          <pc:sldMk cId="2796270212" sldId="474"/>
        </pc:sldMkLst>
        <pc:spChg chg="del mod">
          <ac:chgData name="Elliot RASCH" userId="2f4a8af0-b35f-4610-9bc2-bfab6d4d3e11" providerId="ADAL" clId="{A51B066E-7055-4FD4-A838-6978105183AF}" dt="2021-09-29T15:59:24.237" v="5553" actId="478"/>
          <ac:spMkLst>
            <pc:docMk/>
            <pc:sldMk cId="2796270212" sldId="474"/>
            <ac:spMk id="2" creationId="{2CEF1B7E-C78A-4E45-AF68-C88303977A3F}"/>
          </ac:spMkLst>
        </pc:spChg>
        <pc:spChg chg="mod">
          <ac:chgData name="Elliot RASCH" userId="2f4a8af0-b35f-4610-9bc2-bfab6d4d3e11" providerId="ADAL" clId="{A51B066E-7055-4FD4-A838-6978105183AF}" dt="2021-09-29T15:59:05.052" v="5537" actId="20577"/>
          <ac:spMkLst>
            <pc:docMk/>
            <pc:sldMk cId="2796270212" sldId="474"/>
            <ac:spMk id="14" creationId="{ADE24960-3DC1-4F40-8705-D09E167A0C53}"/>
          </ac:spMkLst>
        </pc:spChg>
        <pc:spChg chg="mod">
          <ac:chgData name="Elliot RASCH" userId="2f4a8af0-b35f-4610-9bc2-bfab6d4d3e11" providerId="ADAL" clId="{A51B066E-7055-4FD4-A838-6978105183AF}" dt="2021-10-01T13:58:51.403" v="7435" actId="1076"/>
          <ac:spMkLst>
            <pc:docMk/>
            <pc:sldMk cId="2796270212" sldId="474"/>
            <ac:spMk id="15" creationId="{876AB4B5-129A-7F43-9340-1BAF49B9B459}"/>
          </ac:spMkLst>
        </pc:spChg>
      </pc:sldChg>
      <pc:sldChg chg="new del">
        <pc:chgData name="Elliot RASCH" userId="2f4a8af0-b35f-4610-9bc2-bfab6d4d3e11" providerId="ADAL" clId="{A51B066E-7055-4FD4-A838-6978105183AF}" dt="2021-09-29T15:58:53.271" v="5522" actId="47"/>
        <pc:sldMkLst>
          <pc:docMk/>
          <pc:sldMk cId="2568457814" sldId="475"/>
        </pc:sldMkLst>
      </pc:sldChg>
      <pc:sldChg chg="addSp delSp modSp add mod ord delAnim modAnim">
        <pc:chgData name="Elliot RASCH" userId="2f4a8af0-b35f-4610-9bc2-bfab6d4d3e11" providerId="ADAL" clId="{A51B066E-7055-4FD4-A838-6978105183AF}" dt="2021-10-01T15:18:32.692" v="8903" actId="20577"/>
        <pc:sldMkLst>
          <pc:docMk/>
          <pc:sldMk cId="2598620155" sldId="475"/>
        </pc:sldMkLst>
        <pc:spChg chg="mod">
          <ac:chgData name="Elliot RASCH" userId="2f4a8af0-b35f-4610-9bc2-bfab6d4d3e11" providerId="ADAL" clId="{A51B066E-7055-4FD4-A838-6978105183AF}" dt="2021-10-01T15:18:32.692" v="8903" actId="20577"/>
          <ac:spMkLst>
            <pc:docMk/>
            <pc:sldMk cId="2598620155" sldId="475"/>
            <ac:spMk id="15" creationId="{876AB4B5-129A-7F43-9340-1BAF49B9B459}"/>
          </ac:spMkLst>
        </pc:spChg>
        <pc:grpChg chg="del">
          <ac:chgData name="Elliot RASCH" userId="2f4a8af0-b35f-4610-9bc2-bfab6d4d3e11" providerId="ADAL" clId="{A51B066E-7055-4FD4-A838-6978105183AF}" dt="2021-10-01T07:53:34.982" v="5665" actId="478"/>
          <ac:grpSpMkLst>
            <pc:docMk/>
            <pc:sldMk cId="2598620155" sldId="475"/>
            <ac:grpSpMk id="2" creationId="{50010F97-A9CE-4192-8CE3-DAB1D6F1A95E}"/>
          </ac:grpSpMkLst>
        </pc:grpChg>
        <pc:grpChg chg="del">
          <ac:chgData name="Elliot RASCH" userId="2f4a8af0-b35f-4610-9bc2-bfab6d4d3e11" providerId="ADAL" clId="{A51B066E-7055-4FD4-A838-6978105183AF}" dt="2021-10-01T07:53:34.398" v="5664" actId="478"/>
          <ac:grpSpMkLst>
            <pc:docMk/>
            <pc:sldMk cId="2598620155" sldId="475"/>
            <ac:grpSpMk id="3" creationId="{50629D13-F737-49DC-8328-703D66CB4AA5}"/>
          </ac:grpSpMkLst>
        </pc:grpChg>
        <pc:grpChg chg="del">
          <ac:chgData name="Elliot RASCH" userId="2f4a8af0-b35f-4610-9bc2-bfab6d4d3e11" providerId="ADAL" clId="{A51B066E-7055-4FD4-A838-6978105183AF}" dt="2021-10-01T07:53:33.815" v="5663" actId="478"/>
          <ac:grpSpMkLst>
            <pc:docMk/>
            <pc:sldMk cId="2598620155" sldId="475"/>
            <ac:grpSpMk id="4" creationId="{FE85AACC-BFA7-459D-AC17-3CF963683473}"/>
          </ac:grpSpMkLst>
        </pc:grpChg>
        <pc:picChg chg="add mod modCrop">
          <ac:chgData name="Elliot RASCH" userId="2f4a8af0-b35f-4610-9bc2-bfab6d4d3e11" providerId="ADAL" clId="{A51B066E-7055-4FD4-A838-6978105183AF}" dt="2021-10-01T09:30:47.582" v="6246" actId="1076"/>
          <ac:picMkLst>
            <pc:docMk/>
            <pc:sldMk cId="2598620155" sldId="475"/>
            <ac:picMk id="18" creationId="{E38C8A1C-4224-4AAD-849A-C350470AD31A}"/>
          </ac:picMkLst>
        </pc:picChg>
        <pc:picChg chg="add mod modCrop">
          <ac:chgData name="Elliot RASCH" userId="2f4a8af0-b35f-4610-9bc2-bfab6d4d3e11" providerId="ADAL" clId="{A51B066E-7055-4FD4-A838-6978105183AF}" dt="2021-10-01T09:30:49.760" v="6247" actId="1076"/>
          <ac:picMkLst>
            <pc:docMk/>
            <pc:sldMk cId="2598620155" sldId="475"/>
            <ac:picMk id="19" creationId="{0CCF8334-F5AA-4599-AE90-F4FCB54C67E9}"/>
          </ac:picMkLst>
        </pc:picChg>
        <pc:picChg chg="add mod">
          <ac:chgData name="Elliot RASCH" userId="2f4a8af0-b35f-4610-9bc2-bfab6d4d3e11" providerId="ADAL" clId="{A51B066E-7055-4FD4-A838-6978105183AF}" dt="2021-10-01T09:30:37.466" v="6242" actId="1076"/>
          <ac:picMkLst>
            <pc:docMk/>
            <pc:sldMk cId="2598620155" sldId="475"/>
            <ac:picMk id="20" creationId="{1C700B1C-0591-486E-86D6-6A166B3F0D0C}"/>
          </ac:picMkLst>
        </pc:picChg>
      </pc:sldChg>
      <pc:sldChg chg="addSp delSp modSp add mod ord delAnim modAnim modNotesTx">
        <pc:chgData name="Elliot RASCH" userId="2f4a8af0-b35f-4610-9bc2-bfab6d4d3e11" providerId="ADAL" clId="{A51B066E-7055-4FD4-A838-6978105183AF}" dt="2021-10-04T08:16:09.239" v="9577" actId="20577"/>
        <pc:sldMkLst>
          <pc:docMk/>
          <pc:sldMk cId="3017267742" sldId="476"/>
        </pc:sldMkLst>
        <pc:spChg chg="mod">
          <ac:chgData name="Elliot RASCH" userId="2f4a8af0-b35f-4610-9bc2-bfab6d4d3e11" providerId="ADAL" clId="{A51B066E-7055-4FD4-A838-6978105183AF}" dt="2021-10-01T07:53:13.454" v="5647" actId="20577"/>
          <ac:spMkLst>
            <pc:docMk/>
            <pc:sldMk cId="3017267742" sldId="476"/>
            <ac:spMk id="15" creationId="{876AB4B5-129A-7F43-9340-1BAF49B9B459}"/>
          </ac:spMkLst>
        </pc:spChg>
        <pc:grpChg chg="del">
          <ac:chgData name="Elliot RASCH" userId="2f4a8af0-b35f-4610-9bc2-bfab6d4d3e11" providerId="ADAL" clId="{A51B066E-7055-4FD4-A838-6978105183AF}" dt="2021-10-01T07:53:18.079" v="5650" actId="478"/>
          <ac:grpSpMkLst>
            <pc:docMk/>
            <pc:sldMk cId="3017267742" sldId="476"/>
            <ac:grpSpMk id="2" creationId="{50010F97-A9CE-4192-8CE3-DAB1D6F1A95E}"/>
          </ac:grpSpMkLst>
        </pc:grpChg>
        <pc:grpChg chg="del">
          <ac:chgData name="Elliot RASCH" userId="2f4a8af0-b35f-4610-9bc2-bfab6d4d3e11" providerId="ADAL" clId="{A51B066E-7055-4FD4-A838-6978105183AF}" dt="2021-10-01T07:53:17.204" v="5649" actId="478"/>
          <ac:grpSpMkLst>
            <pc:docMk/>
            <pc:sldMk cId="3017267742" sldId="476"/>
            <ac:grpSpMk id="3" creationId="{50629D13-F737-49DC-8328-703D66CB4AA5}"/>
          </ac:grpSpMkLst>
        </pc:grpChg>
        <pc:grpChg chg="del">
          <ac:chgData name="Elliot RASCH" userId="2f4a8af0-b35f-4610-9bc2-bfab6d4d3e11" providerId="ADAL" clId="{A51B066E-7055-4FD4-A838-6978105183AF}" dt="2021-10-01T07:53:16.612" v="5648" actId="478"/>
          <ac:grpSpMkLst>
            <pc:docMk/>
            <pc:sldMk cId="3017267742" sldId="476"/>
            <ac:grpSpMk id="4" creationId="{FE85AACC-BFA7-459D-AC17-3CF963683473}"/>
          </ac:grpSpMkLst>
        </pc:grpChg>
        <pc:grpChg chg="add mod">
          <ac:chgData name="Elliot RASCH" userId="2f4a8af0-b35f-4610-9bc2-bfab6d4d3e11" providerId="ADAL" clId="{A51B066E-7055-4FD4-A838-6978105183AF}" dt="2021-10-01T09:18:30.482" v="6118" actId="14100"/>
          <ac:grpSpMkLst>
            <pc:docMk/>
            <pc:sldMk cId="3017267742" sldId="476"/>
            <ac:grpSpMk id="19" creationId="{4388EE0C-DB56-4D22-B1D7-976D334D6603}"/>
          </ac:grpSpMkLst>
        </pc:grpChg>
        <pc:grpChg chg="add mod">
          <ac:chgData name="Elliot RASCH" userId="2f4a8af0-b35f-4610-9bc2-bfab6d4d3e11" providerId="ADAL" clId="{A51B066E-7055-4FD4-A838-6978105183AF}" dt="2021-10-01T09:28:10.698" v="6221" actId="1076"/>
          <ac:grpSpMkLst>
            <pc:docMk/>
            <pc:sldMk cId="3017267742" sldId="476"/>
            <ac:grpSpMk id="23" creationId="{E5CA3640-2464-4E0A-AD9A-0B125805E177}"/>
          </ac:grpSpMkLst>
        </pc:grpChg>
        <pc:picChg chg="add mod">
          <ac:chgData name="Elliot RASCH" userId="2f4a8af0-b35f-4610-9bc2-bfab6d4d3e11" providerId="ADAL" clId="{A51B066E-7055-4FD4-A838-6978105183AF}" dt="2021-10-01T09:18:52.378" v="6125" actId="1076"/>
          <ac:picMkLst>
            <pc:docMk/>
            <pc:sldMk cId="3017267742" sldId="476"/>
            <ac:picMk id="6" creationId="{EA0A59F9-8AA6-4CC4-B02E-A0B422956A0D}"/>
          </ac:picMkLst>
        </pc:picChg>
        <pc:picChg chg="add del mod modCrop">
          <ac:chgData name="Elliot RASCH" userId="2f4a8af0-b35f-4610-9bc2-bfab6d4d3e11" providerId="ADAL" clId="{A51B066E-7055-4FD4-A838-6978105183AF}" dt="2021-10-01T09:20:32.209" v="6149" actId="478"/>
          <ac:picMkLst>
            <pc:docMk/>
            <pc:sldMk cId="3017267742" sldId="476"/>
            <ac:picMk id="8" creationId="{89CFB713-4041-45D6-8A28-CBDE11E9A175}"/>
          </ac:picMkLst>
        </pc:picChg>
        <pc:picChg chg="add del mod">
          <ac:chgData name="Elliot RASCH" userId="2f4a8af0-b35f-4610-9bc2-bfab6d4d3e11" providerId="ADAL" clId="{A51B066E-7055-4FD4-A838-6978105183AF}" dt="2021-10-01T09:21:15.975" v="6153" actId="478"/>
          <ac:picMkLst>
            <pc:docMk/>
            <pc:sldMk cId="3017267742" sldId="476"/>
            <ac:picMk id="10" creationId="{C5E53587-8E90-4E85-8EB5-A0C9A9A63300}"/>
          </ac:picMkLst>
        </pc:picChg>
        <pc:picChg chg="add del mod">
          <ac:chgData name="Elliot RASCH" userId="2f4a8af0-b35f-4610-9bc2-bfab6d4d3e11" providerId="ADAL" clId="{A51B066E-7055-4FD4-A838-6978105183AF}" dt="2021-10-01T09:22:56.242" v="6162" actId="478"/>
          <ac:picMkLst>
            <pc:docMk/>
            <pc:sldMk cId="3017267742" sldId="476"/>
            <ac:picMk id="12" creationId="{15445890-2D2E-4CBC-8343-B25684576C5F}"/>
          </ac:picMkLst>
        </pc:picChg>
        <pc:picChg chg="add mod modCrop">
          <ac:chgData name="Elliot RASCH" userId="2f4a8af0-b35f-4610-9bc2-bfab6d4d3e11" providerId="ADAL" clId="{A51B066E-7055-4FD4-A838-6978105183AF}" dt="2021-10-01T09:23:35.534" v="6176" actId="164"/>
          <ac:picMkLst>
            <pc:docMk/>
            <pc:sldMk cId="3017267742" sldId="476"/>
            <ac:picMk id="16" creationId="{7DBA1F67-E37D-485B-A2EB-97AE342A1997}"/>
          </ac:picMkLst>
        </pc:picChg>
        <pc:picChg chg="add mod">
          <ac:chgData name="Elliot RASCH" userId="2f4a8af0-b35f-4610-9bc2-bfab6d4d3e11" providerId="ADAL" clId="{A51B066E-7055-4FD4-A838-6978105183AF}" dt="2021-10-01T09:18:33.186" v="6120" actId="1076"/>
          <ac:picMkLst>
            <pc:docMk/>
            <pc:sldMk cId="3017267742" sldId="476"/>
            <ac:picMk id="18" creationId="{37C7E8E5-59AF-4DD6-80CE-256DD5DD470A}"/>
          </ac:picMkLst>
        </pc:picChg>
        <pc:picChg chg="mod">
          <ac:chgData name="Elliot RASCH" userId="2f4a8af0-b35f-4610-9bc2-bfab6d4d3e11" providerId="ADAL" clId="{A51B066E-7055-4FD4-A838-6978105183AF}" dt="2021-10-01T09:18:14.535" v="6108"/>
          <ac:picMkLst>
            <pc:docMk/>
            <pc:sldMk cId="3017267742" sldId="476"/>
            <ac:picMk id="20" creationId="{473D0B13-7C38-42F0-A149-1173464EFE6E}"/>
          </ac:picMkLst>
        </pc:picChg>
        <pc:picChg chg="mod">
          <ac:chgData name="Elliot RASCH" userId="2f4a8af0-b35f-4610-9bc2-bfab6d4d3e11" providerId="ADAL" clId="{A51B066E-7055-4FD4-A838-6978105183AF}" dt="2021-10-01T09:18:14.535" v="6108"/>
          <ac:picMkLst>
            <pc:docMk/>
            <pc:sldMk cId="3017267742" sldId="476"/>
            <ac:picMk id="21" creationId="{183BAAC8-9BF7-4CE7-B62A-84F0E7CCF2CE}"/>
          </ac:picMkLst>
        </pc:picChg>
        <pc:picChg chg="add mod">
          <ac:chgData name="Elliot RASCH" userId="2f4a8af0-b35f-4610-9bc2-bfab6d4d3e11" providerId="ADAL" clId="{A51B066E-7055-4FD4-A838-6978105183AF}" dt="2021-10-01T09:23:35.534" v="6176" actId="164"/>
          <ac:picMkLst>
            <pc:docMk/>
            <pc:sldMk cId="3017267742" sldId="476"/>
            <ac:picMk id="22" creationId="{C6B3C01C-1EF2-4D9C-8714-139BB29FE011}"/>
          </ac:picMkLst>
        </pc:picChg>
      </pc:sldChg>
      <pc:sldChg chg="delSp modSp add mod delAnim modAnim">
        <pc:chgData name="Elliot RASCH" userId="2f4a8af0-b35f-4610-9bc2-bfab6d4d3e11" providerId="ADAL" clId="{A51B066E-7055-4FD4-A838-6978105183AF}" dt="2021-10-01T09:27:25.328" v="6207" actId="1076"/>
        <pc:sldMkLst>
          <pc:docMk/>
          <pc:sldMk cId="1585668421" sldId="479"/>
        </pc:sldMkLst>
        <pc:spChg chg="del">
          <ac:chgData name="Elliot RASCH" userId="2f4a8af0-b35f-4610-9bc2-bfab6d4d3e11" providerId="ADAL" clId="{A51B066E-7055-4FD4-A838-6978105183AF}" dt="2021-10-01T09:26:27.679" v="6186" actId="478"/>
          <ac:spMkLst>
            <pc:docMk/>
            <pc:sldMk cId="1585668421" sldId="479"/>
            <ac:spMk id="5" creationId="{41365644-6B68-415B-A9A9-E45E671FBB4C}"/>
          </ac:spMkLst>
        </pc:spChg>
        <pc:spChg chg="del">
          <ac:chgData name="Elliot RASCH" userId="2f4a8af0-b35f-4610-9bc2-bfab6d4d3e11" providerId="ADAL" clId="{A51B066E-7055-4FD4-A838-6978105183AF}" dt="2021-10-01T09:26:15.619" v="6181" actId="478"/>
          <ac:spMkLst>
            <pc:docMk/>
            <pc:sldMk cId="1585668421" sldId="479"/>
            <ac:spMk id="21" creationId="{9874C94F-666D-4584-BF12-8A8F1015C5DE}"/>
          </ac:spMkLst>
        </pc:spChg>
        <pc:spChg chg="del">
          <ac:chgData name="Elliot RASCH" userId="2f4a8af0-b35f-4610-9bc2-bfab6d4d3e11" providerId="ADAL" clId="{A51B066E-7055-4FD4-A838-6978105183AF}" dt="2021-10-01T09:26:23.943" v="6184" actId="478"/>
          <ac:spMkLst>
            <pc:docMk/>
            <pc:sldMk cId="1585668421" sldId="479"/>
            <ac:spMk id="28" creationId="{49952EC3-7291-4558-80E1-840ED2B1F42E}"/>
          </ac:spMkLst>
        </pc:spChg>
        <pc:spChg chg="del">
          <ac:chgData name="Elliot RASCH" userId="2f4a8af0-b35f-4610-9bc2-bfab6d4d3e11" providerId="ADAL" clId="{A51B066E-7055-4FD4-A838-6978105183AF}" dt="2021-10-01T09:26:14.861" v="6180" actId="478"/>
          <ac:spMkLst>
            <pc:docMk/>
            <pc:sldMk cId="1585668421" sldId="479"/>
            <ac:spMk id="29" creationId="{7D2C6CC2-5233-4EF4-BB9D-4C679151263D}"/>
          </ac:spMkLst>
        </pc:spChg>
        <pc:spChg chg="del">
          <ac:chgData name="Elliot RASCH" userId="2f4a8af0-b35f-4610-9bc2-bfab6d4d3e11" providerId="ADAL" clId="{A51B066E-7055-4FD4-A838-6978105183AF}" dt="2021-10-01T09:26:14.861" v="6180" actId="478"/>
          <ac:spMkLst>
            <pc:docMk/>
            <pc:sldMk cId="1585668421" sldId="479"/>
            <ac:spMk id="30" creationId="{7C628831-F8FE-4112-89B0-20DB5141E1A2}"/>
          </ac:spMkLst>
        </pc:spChg>
        <pc:spChg chg="del">
          <ac:chgData name="Elliot RASCH" userId="2f4a8af0-b35f-4610-9bc2-bfab6d4d3e11" providerId="ADAL" clId="{A51B066E-7055-4FD4-A838-6978105183AF}" dt="2021-10-01T09:26:12.363" v="6179" actId="478"/>
          <ac:spMkLst>
            <pc:docMk/>
            <pc:sldMk cId="1585668421" sldId="479"/>
            <ac:spMk id="36" creationId="{EEFBA616-58C0-40CD-840A-3221D3D036C5}"/>
          </ac:spMkLst>
        </pc:spChg>
        <pc:spChg chg="del">
          <ac:chgData name="Elliot RASCH" userId="2f4a8af0-b35f-4610-9bc2-bfab6d4d3e11" providerId="ADAL" clId="{A51B066E-7055-4FD4-A838-6978105183AF}" dt="2021-10-01T09:26:14.861" v="6180" actId="478"/>
          <ac:spMkLst>
            <pc:docMk/>
            <pc:sldMk cId="1585668421" sldId="479"/>
            <ac:spMk id="37" creationId="{86AAF1D3-9C43-4D92-97CD-2AC0520F13CC}"/>
          </ac:spMkLst>
        </pc:spChg>
        <pc:spChg chg="mod">
          <ac:chgData name="Elliot RASCH" userId="2f4a8af0-b35f-4610-9bc2-bfab6d4d3e11" providerId="ADAL" clId="{A51B066E-7055-4FD4-A838-6978105183AF}" dt="2021-10-01T09:27:16.275" v="6203" actId="1076"/>
          <ac:spMkLst>
            <pc:docMk/>
            <pc:sldMk cId="1585668421" sldId="479"/>
            <ac:spMk id="57" creationId="{F5F5BD91-0313-4306-ACAD-F25D04FD37EC}"/>
          </ac:spMkLst>
        </pc:spChg>
        <pc:spChg chg="mod">
          <ac:chgData name="Elliot RASCH" userId="2f4a8af0-b35f-4610-9bc2-bfab6d4d3e11" providerId="ADAL" clId="{A51B066E-7055-4FD4-A838-6978105183AF}" dt="2021-10-01T09:26:49.972" v="6196" actId="14100"/>
          <ac:spMkLst>
            <pc:docMk/>
            <pc:sldMk cId="1585668421" sldId="479"/>
            <ac:spMk id="60" creationId="{FED8F934-8A77-4764-B817-CE00A9B69D18}"/>
          </ac:spMkLst>
        </pc:spChg>
        <pc:grpChg chg="mod">
          <ac:chgData name="Elliot RASCH" userId="2f4a8af0-b35f-4610-9bc2-bfab6d4d3e11" providerId="ADAL" clId="{A51B066E-7055-4FD4-A838-6978105183AF}" dt="2021-10-01T09:27:09.282" v="6202" actId="1076"/>
          <ac:grpSpMkLst>
            <pc:docMk/>
            <pc:sldMk cId="1585668421" sldId="479"/>
            <ac:grpSpMk id="2" creationId="{50010F97-A9CE-4192-8CE3-DAB1D6F1A95E}"/>
          </ac:grpSpMkLst>
        </pc:grpChg>
        <pc:grpChg chg="mod">
          <ac:chgData name="Elliot RASCH" userId="2f4a8af0-b35f-4610-9bc2-bfab6d4d3e11" providerId="ADAL" clId="{A51B066E-7055-4FD4-A838-6978105183AF}" dt="2021-10-01T09:27:23.733" v="6206" actId="1076"/>
          <ac:grpSpMkLst>
            <pc:docMk/>
            <pc:sldMk cId="1585668421" sldId="479"/>
            <ac:grpSpMk id="3" creationId="{50629D13-F737-49DC-8328-703D66CB4AA5}"/>
          </ac:grpSpMkLst>
        </pc:grpChg>
        <pc:grpChg chg="mod">
          <ac:chgData name="Elliot RASCH" userId="2f4a8af0-b35f-4610-9bc2-bfab6d4d3e11" providerId="ADAL" clId="{A51B066E-7055-4FD4-A838-6978105183AF}" dt="2021-10-01T09:27:25.328" v="6207" actId="1076"/>
          <ac:grpSpMkLst>
            <pc:docMk/>
            <pc:sldMk cId="1585668421" sldId="479"/>
            <ac:grpSpMk id="4" creationId="{FE85AACC-BFA7-459D-AC17-3CF963683473}"/>
          </ac:grpSpMkLst>
        </pc:grpChg>
        <pc:grpChg chg="del">
          <ac:chgData name="Elliot RASCH" userId="2f4a8af0-b35f-4610-9bc2-bfab6d4d3e11" providerId="ADAL" clId="{A51B066E-7055-4FD4-A838-6978105183AF}" dt="2021-10-01T09:26:14.861" v="6180" actId="478"/>
          <ac:grpSpMkLst>
            <pc:docMk/>
            <pc:sldMk cId="1585668421" sldId="479"/>
            <ac:grpSpMk id="20" creationId="{8758E05B-4D52-4DD9-AC0F-B8B21E63175A}"/>
          </ac:grpSpMkLst>
        </pc:grpChg>
        <pc:picChg chg="del">
          <ac:chgData name="Elliot RASCH" userId="2f4a8af0-b35f-4610-9bc2-bfab6d4d3e11" providerId="ADAL" clId="{A51B066E-7055-4FD4-A838-6978105183AF}" dt="2021-10-01T09:26:10.679" v="6178" actId="478"/>
          <ac:picMkLst>
            <pc:docMk/>
            <pc:sldMk cId="1585668421" sldId="479"/>
            <ac:picMk id="6" creationId="{15E2CD8F-8832-4740-8726-33F5BC4B6A82}"/>
          </ac:picMkLst>
        </pc:picChg>
        <pc:picChg chg="del">
          <ac:chgData name="Elliot RASCH" userId="2f4a8af0-b35f-4610-9bc2-bfab6d4d3e11" providerId="ADAL" clId="{A51B066E-7055-4FD4-A838-6978105183AF}" dt="2021-10-01T09:26:14.861" v="6180" actId="478"/>
          <ac:picMkLst>
            <pc:docMk/>
            <pc:sldMk cId="1585668421" sldId="479"/>
            <ac:picMk id="17" creationId="{35281EAD-6577-4A43-B18D-A6892EE1007F}"/>
          </ac:picMkLst>
        </pc:picChg>
        <pc:picChg chg="del">
          <ac:chgData name="Elliot RASCH" userId="2f4a8af0-b35f-4610-9bc2-bfab6d4d3e11" providerId="ADAL" clId="{A51B066E-7055-4FD4-A838-6978105183AF}" dt="2021-10-01T09:26:14.861" v="6180" actId="478"/>
          <ac:picMkLst>
            <pc:docMk/>
            <pc:sldMk cId="1585668421" sldId="479"/>
            <ac:picMk id="19" creationId="{3D072E78-01F7-4F1D-B56F-5427AB44FFC8}"/>
          </ac:picMkLst>
        </pc:picChg>
        <pc:picChg chg="mod">
          <ac:chgData name="Elliot RASCH" userId="2f4a8af0-b35f-4610-9bc2-bfab6d4d3e11" providerId="ADAL" clId="{A51B066E-7055-4FD4-A838-6978105183AF}" dt="2021-10-01T09:27:20.476" v="6205" actId="1076"/>
          <ac:picMkLst>
            <pc:docMk/>
            <pc:sldMk cId="1585668421" sldId="479"/>
            <ac:picMk id="52" creationId="{BB78B82E-DC91-4AD5-949E-F15836E66C92}"/>
          </ac:picMkLst>
        </pc:picChg>
        <pc:picChg chg="mod">
          <ac:chgData name="Elliot RASCH" userId="2f4a8af0-b35f-4610-9bc2-bfab6d4d3e11" providerId="ADAL" clId="{A51B066E-7055-4FD4-A838-6978105183AF}" dt="2021-10-01T09:27:16.275" v="6203" actId="1076"/>
          <ac:picMkLst>
            <pc:docMk/>
            <pc:sldMk cId="1585668421" sldId="479"/>
            <ac:picMk id="56" creationId="{8DF3E83A-168D-42B9-84C1-4C073134D11A}"/>
          </ac:picMkLst>
        </pc:picChg>
      </pc:sldChg>
      <pc:sldChg chg="delSp modSp mod modNotesTx">
        <pc:chgData name="Elliot RASCH" userId="2f4a8af0-b35f-4610-9bc2-bfab6d4d3e11" providerId="ADAL" clId="{A51B066E-7055-4FD4-A838-6978105183AF}" dt="2021-10-04T12:20:22.886" v="9645" actId="478"/>
        <pc:sldMkLst>
          <pc:docMk/>
          <pc:sldMk cId="19082615" sldId="481"/>
        </pc:sldMkLst>
        <pc:spChg chg="del mod">
          <ac:chgData name="Elliot RASCH" userId="2f4a8af0-b35f-4610-9bc2-bfab6d4d3e11" providerId="ADAL" clId="{A51B066E-7055-4FD4-A838-6978105183AF}" dt="2021-10-04T12:20:22.886" v="9645" actId="478"/>
          <ac:spMkLst>
            <pc:docMk/>
            <pc:sldMk cId="19082615" sldId="481"/>
            <ac:spMk id="15" creationId="{876AB4B5-129A-7F43-9340-1BAF49B9B459}"/>
          </ac:spMkLst>
        </pc:spChg>
      </pc:sldChg>
      <pc:sldChg chg="modSp add del mod">
        <pc:chgData name="Elliot RASCH" userId="2f4a8af0-b35f-4610-9bc2-bfab6d4d3e11" providerId="ADAL" clId="{A51B066E-7055-4FD4-A838-6978105183AF}" dt="2021-10-01T11:22:03.097" v="6373" actId="47"/>
        <pc:sldMkLst>
          <pc:docMk/>
          <pc:sldMk cId="1127053024" sldId="481"/>
        </pc:sldMkLst>
        <pc:spChg chg="mod">
          <ac:chgData name="Elliot RASCH" userId="2f4a8af0-b35f-4610-9bc2-bfab6d4d3e11" providerId="ADAL" clId="{A51B066E-7055-4FD4-A838-6978105183AF}" dt="2021-10-01T09:55:12.601" v="6372" actId="20577"/>
          <ac:spMkLst>
            <pc:docMk/>
            <pc:sldMk cId="1127053024" sldId="481"/>
            <ac:spMk id="14" creationId="{F0A5EBB4-7FD4-42DE-8184-63501C2AF76B}"/>
          </ac:spMkLst>
        </pc:spChg>
      </pc:sldChg>
      <pc:sldChg chg="addSp delSp modSp mod">
        <pc:chgData name="Elliot RASCH" userId="2f4a8af0-b35f-4610-9bc2-bfab6d4d3e11" providerId="ADAL" clId="{A51B066E-7055-4FD4-A838-6978105183AF}" dt="2021-10-04T06:12:57.419" v="9216" actId="478"/>
        <pc:sldMkLst>
          <pc:docMk/>
          <pc:sldMk cId="4186316412" sldId="483"/>
        </pc:sldMkLst>
        <pc:picChg chg="add del mod">
          <ac:chgData name="Elliot RASCH" userId="2f4a8af0-b35f-4610-9bc2-bfab6d4d3e11" providerId="ADAL" clId="{A51B066E-7055-4FD4-A838-6978105183AF}" dt="2021-10-04T06:12:57.419" v="9216" actId="478"/>
          <ac:picMkLst>
            <pc:docMk/>
            <pc:sldMk cId="4186316412" sldId="483"/>
            <ac:picMk id="6" creationId="{1DDCA2F3-DAD7-4992-941F-5D24692EFC00}"/>
          </ac:picMkLst>
        </pc:picChg>
      </pc:sldChg>
    </pc:docChg>
  </pc:docChgLst>
  <pc:docChgLst>
    <pc:chgData name="Alexis PAIN" userId="b78671f6-15be-46ee-b9bf-27c91a325b9c" providerId="ADAL" clId="{5B946F25-BCF0-4730-BBC6-DC386E8BF556}"/>
    <pc:docChg chg="undo redo custSel addSld delSld modSld sldOrd modSection">
      <pc:chgData name="Alexis PAIN" userId="b78671f6-15be-46ee-b9bf-27c91a325b9c" providerId="ADAL" clId="{5B946F25-BCF0-4730-BBC6-DC386E8BF556}" dt="2021-10-04T13:59:04.569" v="6219" actId="113"/>
      <pc:docMkLst>
        <pc:docMk/>
      </pc:docMkLst>
      <pc:sldChg chg="modSp mod">
        <pc:chgData name="Alexis PAIN" userId="b78671f6-15be-46ee-b9bf-27c91a325b9c" providerId="ADAL" clId="{5B946F25-BCF0-4730-BBC6-DC386E8BF556}" dt="2021-10-01T13:22:26.128" v="5387" actId="20577"/>
        <pc:sldMkLst>
          <pc:docMk/>
          <pc:sldMk cId="2026788672" sldId="439"/>
        </pc:sldMkLst>
        <pc:spChg chg="mod">
          <ac:chgData name="Alexis PAIN" userId="b78671f6-15be-46ee-b9bf-27c91a325b9c" providerId="ADAL" clId="{5B946F25-BCF0-4730-BBC6-DC386E8BF556}" dt="2021-10-01T13:22:26.128" v="5387" actId="20577"/>
          <ac:spMkLst>
            <pc:docMk/>
            <pc:sldMk cId="2026788672" sldId="439"/>
            <ac:spMk id="114" creationId="{00000000-0000-0000-0000-000000000000}"/>
          </ac:spMkLst>
        </pc:spChg>
      </pc:sldChg>
      <pc:sldChg chg="addSp modSp del mod">
        <pc:chgData name="Alexis PAIN" userId="b78671f6-15be-46ee-b9bf-27c91a325b9c" providerId="ADAL" clId="{5B946F25-BCF0-4730-BBC6-DC386E8BF556}" dt="2021-09-23T08:52:45.331" v="384" actId="2696"/>
        <pc:sldMkLst>
          <pc:docMk/>
          <pc:sldMk cId="3064383426" sldId="441"/>
        </pc:sldMkLst>
        <pc:spChg chg="mod">
          <ac:chgData name="Alexis PAIN" userId="b78671f6-15be-46ee-b9bf-27c91a325b9c" providerId="ADAL" clId="{5B946F25-BCF0-4730-BBC6-DC386E8BF556}" dt="2021-09-23T08:42:55.311" v="352" actId="20577"/>
          <ac:spMkLst>
            <pc:docMk/>
            <pc:sldMk cId="3064383426" sldId="441"/>
            <ac:spMk id="2" creationId="{30CBB202-04BF-4168-B6E2-02F123C53BC3}"/>
          </ac:spMkLst>
        </pc:spChg>
        <pc:spChg chg="add mod">
          <ac:chgData name="Alexis PAIN" userId="b78671f6-15be-46ee-b9bf-27c91a325b9c" providerId="ADAL" clId="{5B946F25-BCF0-4730-BBC6-DC386E8BF556}" dt="2021-09-23T08:26:31.109" v="35" actId="20577"/>
          <ac:spMkLst>
            <pc:docMk/>
            <pc:sldMk cId="3064383426" sldId="441"/>
            <ac:spMk id="3" creationId="{D91D6564-C0B5-42F5-ADDF-3DE96C97EBE8}"/>
          </ac:spMkLst>
        </pc:spChg>
        <pc:picChg chg="add mod">
          <ac:chgData name="Alexis PAIN" userId="b78671f6-15be-46ee-b9bf-27c91a325b9c" providerId="ADAL" clId="{5B946F25-BCF0-4730-BBC6-DC386E8BF556}" dt="2021-09-23T08:28:48.157" v="41" actId="1076"/>
          <ac:picMkLst>
            <pc:docMk/>
            <pc:sldMk cId="3064383426" sldId="441"/>
            <ac:picMk id="5" creationId="{962AF460-F43C-45D4-9960-A5BAF45ED0B2}"/>
          </ac:picMkLst>
        </pc:picChg>
      </pc:sldChg>
      <pc:sldChg chg="addSp modSp mod">
        <pc:chgData name="Alexis PAIN" userId="b78671f6-15be-46ee-b9bf-27c91a325b9c" providerId="ADAL" clId="{5B946F25-BCF0-4730-BBC6-DC386E8BF556}" dt="2021-10-01T09:12:12.022" v="5033" actId="166"/>
        <pc:sldMkLst>
          <pc:docMk/>
          <pc:sldMk cId="1696930645" sldId="443"/>
        </pc:sldMkLst>
        <pc:spChg chg="add mod ord">
          <ac:chgData name="Alexis PAIN" userId="b78671f6-15be-46ee-b9bf-27c91a325b9c" providerId="ADAL" clId="{5B946F25-BCF0-4730-BBC6-DC386E8BF556}" dt="2021-10-01T09:09:54.037" v="5014" actId="171"/>
          <ac:spMkLst>
            <pc:docMk/>
            <pc:sldMk cId="1696930645" sldId="443"/>
            <ac:spMk id="5" creationId="{41365644-6B68-415B-A9A9-E45E671FBB4C}"/>
          </ac:spMkLst>
        </pc:spChg>
        <pc:spChg chg="add mod">
          <ac:chgData name="Alexis PAIN" userId="b78671f6-15be-46ee-b9bf-27c91a325b9c" providerId="ADAL" clId="{5B946F25-BCF0-4730-BBC6-DC386E8BF556}" dt="2021-10-01T09:11:00.532" v="5024" actId="208"/>
          <ac:spMkLst>
            <pc:docMk/>
            <pc:sldMk cId="1696930645" sldId="443"/>
            <ac:spMk id="28" creationId="{49952EC3-7291-4558-80E1-840ED2B1F42E}"/>
          </ac:spMkLst>
        </pc:spChg>
        <pc:spChg chg="add mod">
          <ac:chgData name="Alexis PAIN" userId="b78671f6-15be-46ee-b9bf-27c91a325b9c" providerId="ADAL" clId="{5B946F25-BCF0-4730-BBC6-DC386E8BF556}" dt="2021-10-01T09:11:37.861" v="5027" actId="14100"/>
          <ac:spMkLst>
            <pc:docMk/>
            <pc:sldMk cId="1696930645" sldId="443"/>
            <ac:spMk id="29" creationId="{7D2C6CC2-5233-4EF4-BB9D-4C679151263D}"/>
          </ac:spMkLst>
        </pc:spChg>
        <pc:spChg chg="add mod">
          <ac:chgData name="Alexis PAIN" userId="b78671f6-15be-46ee-b9bf-27c91a325b9c" providerId="ADAL" clId="{5B946F25-BCF0-4730-BBC6-DC386E8BF556}" dt="2021-10-01T09:12:08.423" v="5032" actId="14100"/>
          <ac:spMkLst>
            <pc:docMk/>
            <pc:sldMk cId="1696930645" sldId="443"/>
            <ac:spMk id="30" creationId="{7C628831-F8FE-4112-89B0-20DB5141E1A2}"/>
          </ac:spMkLst>
        </pc:spChg>
        <pc:grpChg chg="ord">
          <ac:chgData name="Alexis PAIN" userId="b78671f6-15be-46ee-b9bf-27c91a325b9c" providerId="ADAL" clId="{5B946F25-BCF0-4730-BBC6-DC386E8BF556}" dt="2021-10-01T09:10:52.150" v="5023" actId="166"/>
          <ac:grpSpMkLst>
            <pc:docMk/>
            <pc:sldMk cId="1696930645" sldId="443"/>
            <ac:grpSpMk id="3" creationId="{50629D13-F737-49DC-8328-703D66CB4AA5}"/>
          </ac:grpSpMkLst>
        </pc:grpChg>
        <pc:grpChg chg="ord">
          <ac:chgData name="Alexis PAIN" userId="b78671f6-15be-46ee-b9bf-27c91a325b9c" providerId="ADAL" clId="{5B946F25-BCF0-4730-BBC6-DC386E8BF556}" dt="2021-10-01T09:10:44.170" v="5022" actId="171"/>
          <ac:grpSpMkLst>
            <pc:docMk/>
            <pc:sldMk cId="1696930645" sldId="443"/>
            <ac:grpSpMk id="4" creationId="{FE85AACC-BFA7-459D-AC17-3CF963683473}"/>
          </ac:grpSpMkLst>
        </pc:grpChg>
        <pc:grpChg chg="ord">
          <ac:chgData name="Alexis PAIN" userId="b78671f6-15be-46ee-b9bf-27c91a325b9c" providerId="ADAL" clId="{5B946F25-BCF0-4730-BBC6-DC386E8BF556}" dt="2021-10-01T09:12:12.022" v="5033" actId="166"/>
          <ac:grpSpMkLst>
            <pc:docMk/>
            <pc:sldMk cId="1696930645" sldId="443"/>
            <ac:grpSpMk id="20" creationId="{8758E05B-4D52-4DD9-AC0F-B8B21E63175A}"/>
          </ac:grpSpMkLst>
        </pc:grpChg>
      </pc:sldChg>
      <pc:sldChg chg="addSp delSp modSp add del mod">
        <pc:chgData name="Alexis PAIN" userId="b78671f6-15be-46ee-b9bf-27c91a325b9c" providerId="ADAL" clId="{5B946F25-BCF0-4730-BBC6-DC386E8BF556}" dt="2021-10-01T13:25:16.502" v="5392" actId="2696"/>
        <pc:sldMkLst>
          <pc:docMk/>
          <pc:sldMk cId="2954828508" sldId="445"/>
        </pc:sldMkLst>
        <pc:spChg chg="add mod">
          <ac:chgData name="Alexis PAIN" userId="b78671f6-15be-46ee-b9bf-27c91a325b9c" providerId="ADAL" clId="{5B946F25-BCF0-4730-BBC6-DC386E8BF556}" dt="2021-09-23T09:06:57.017" v="869" actId="403"/>
          <ac:spMkLst>
            <pc:docMk/>
            <pc:sldMk cId="2954828508" sldId="445"/>
            <ac:spMk id="5" creationId="{B4ECAB13-22EB-45B8-BF68-0D55B6DB2B8D}"/>
          </ac:spMkLst>
        </pc:spChg>
        <pc:spChg chg="mod">
          <ac:chgData name="Alexis PAIN" userId="b78671f6-15be-46ee-b9bf-27c91a325b9c" providerId="ADAL" clId="{5B946F25-BCF0-4730-BBC6-DC386E8BF556}" dt="2021-09-23T08:56:37.240" v="420" actId="20577"/>
          <ac:spMkLst>
            <pc:docMk/>
            <pc:sldMk cId="2954828508" sldId="445"/>
            <ac:spMk id="6" creationId="{5E20247E-8AE2-9546-88DF-24BBEFC7E0A2}"/>
          </ac:spMkLst>
        </pc:spChg>
        <pc:spChg chg="mod">
          <ac:chgData name="Alexis PAIN" userId="b78671f6-15be-46ee-b9bf-27c91a325b9c" providerId="ADAL" clId="{5B946F25-BCF0-4730-BBC6-DC386E8BF556}" dt="2021-09-23T09:08:26.588" v="978" actId="20577"/>
          <ac:spMkLst>
            <pc:docMk/>
            <pc:sldMk cId="2954828508" sldId="445"/>
            <ac:spMk id="114" creationId="{00000000-0000-0000-0000-000000000000}"/>
          </ac:spMkLst>
        </pc:spChg>
        <pc:picChg chg="del">
          <ac:chgData name="Alexis PAIN" userId="b78671f6-15be-46ee-b9bf-27c91a325b9c" providerId="ADAL" clId="{5B946F25-BCF0-4730-BBC6-DC386E8BF556}" dt="2021-09-23T08:57:08.687" v="422" actId="478"/>
          <ac:picMkLst>
            <pc:docMk/>
            <pc:sldMk cId="2954828508" sldId="445"/>
            <ac:picMk id="3" creationId="{3D77C924-8ACB-4330-8CDC-607FDAA26365}"/>
          </ac:picMkLst>
        </pc:picChg>
        <pc:picChg chg="add mod">
          <ac:chgData name="Alexis PAIN" userId="b78671f6-15be-46ee-b9bf-27c91a325b9c" providerId="ADAL" clId="{5B946F25-BCF0-4730-BBC6-DC386E8BF556}" dt="2021-09-23T08:57:28.037" v="426" actId="1076"/>
          <ac:picMkLst>
            <pc:docMk/>
            <pc:sldMk cId="2954828508" sldId="445"/>
            <ac:picMk id="4" creationId="{FCA9D11F-73C6-4768-B11F-ABFF10BAF293}"/>
          </ac:picMkLst>
        </pc:picChg>
      </pc:sldChg>
      <pc:sldChg chg="addSp delSp modSp add del mod">
        <pc:chgData name="Alexis PAIN" userId="b78671f6-15be-46ee-b9bf-27c91a325b9c" providerId="ADAL" clId="{5B946F25-BCF0-4730-BBC6-DC386E8BF556}" dt="2021-09-23T08:56:01.444" v="385" actId="2696"/>
        <pc:sldMkLst>
          <pc:docMk/>
          <pc:sldMk cId="3958903860" sldId="445"/>
        </pc:sldMkLst>
        <pc:spChg chg="del mod">
          <ac:chgData name="Alexis PAIN" userId="b78671f6-15be-46ee-b9bf-27c91a325b9c" providerId="ADAL" clId="{5B946F25-BCF0-4730-BBC6-DC386E8BF556}" dt="2021-09-23T08:47:06.387" v="381" actId="478"/>
          <ac:spMkLst>
            <pc:docMk/>
            <pc:sldMk cId="3958903860" sldId="445"/>
            <ac:spMk id="2" creationId="{30CBB202-04BF-4168-B6E2-02F123C53BC3}"/>
          </ac:spMkLst>
        </pc:spChg>
        <pc:spChg chg="mod">
          <ac:chgData name="Alexis PAIN" userId="b78671f6-15be-46ee-b9bf-27c91a325b9c" providerId="ADAL" clId="{5B946F25-BCF0-4730-BBC6-DC386E8BF556}" dt="2021-09-23T08:46:56.911" v="379" actId="20577"/>
          <ac:spMkLst>
            <pc:docMk/>
            <pc:sldMk cId="3958903860" sldId="445"/>
            <ac:spMk id="3" creationId="{D91D6564-C0B5-42F5-ADDF-3DE96C97EBE8}"/>
          </ac:spMkLst>
        </pc:spChg>
        <pc:spChg chg="add">
          <ac:chgData name="Alexis PAIN" userId="b78671f6-15be-46ee-b9bf-27c91a325b9c" providerId="ADAL" clId="{5B946F25-BCF0-4730-BBC6-DC386E8BF556}" dt="2021-09-23T08:47:50.956" v="383"/>
          <ac:spMkLst>
            <pc:docMk/>
            <pc:sldMk cId="3958903860" sldId="445"/>
            <ac:spMk id="6" creationId="{67D43D16-BFE8-4E6C-9948-9B6F53A03F01}"/>
          </ac:spMkLst>
        </pc:spChg>
      </pc:sldChg>
      <pc:sldChg chg="addSp delSp modSp add del mod">
        <pc:chgData name="Alexis PAIN" userId="b78671f6-15be-46ee-b9bf-27c91a325b9c" providerId="ADAL" clId="{5B946F25-BCF0-4730-BBC6-DC386E8BF556}" dt="2021-10-01T13:43:17.899" v="5543" actId="2696"/>
        <pc:sldMkLst>
          <pc:docMk/>
          <pc:sldMk cId="3097360702" sldId="446"/>
        </pc:sldMkLst>
        <pc:spChg chg="add del mod">
          <ac:chgData name="Alexis PAIN" userId="b78671f6-15be-46ee-b9bf-27c91a325b9c" providerId="ADAL" clId="{5B946F25-BCF0-4730-BBC6-DC386E8BF556}" dt="2021-09-23T09:08:45.629" v="981" actId="478"/>
          <ac:spMkLst>
            <pc:docMk/>
            <pc:sldMk cId="3097360702" sldId="446"/>
            <ac:spMk id="3" creationId="{8E3152AC-B3CC-43A7-BEBC-00B3B12FD812}"/>
          </ac:spMkLst>
        </pc:spChg>
        <pc:spChg chg="del">
          <ac:chgData name="Alexis PAIN" userId="b78671f6-15be-46ee-b9bf-27c91a325b9c" providerId="ADAL" clId="{5B946F25-BCF0-4730-BBC6-DC386E8BF556}" dt="2021-09-23T09:08:48.659" v="982" actId="478"/>
          <ac:spMkLst>
            <pc:docMk/>
            <pc:sldMk cId="3097360702" sldId="446"/>
            <ac:spMk id="5" creationId="{B4ECAB13-22EB-45B8-BF68-0D55B6DB2B8D}"/>
          </ac:spMkLst>
        </pc:spChg>
        <pc:spChg chg="mod">
          <ac:chgData name="Alexis PAIN" userId="b78671f6-15be-46ee-b9bf-27c91a325b9c" providerId="ADAL" clId="{5B946F25-BCF0-4730-BBC6-DC386E8BF556}" dt="2021-10-01T13:43:07.908" v="5541" actId="1076"/>
          <ac:spMkLst>
            <pc:docMk/>
            <pc:sldMk cId="3097360702" sldId="446"/>
            <ac:spMk id="6" creationId="{5E20247E-8AE2-9546-88DF-24BBEFC7E0A2}"/>
          </ac:spMkLst>
        </pc:spChg>
        <pc:spChg chg="del">
          <ac:chgData name="Alexis PAIN" userId="b78671f6-15be-46ee-b9bf-27c91a325b9c" providerId="ADAL" clId="{5B946F25-BCF0-4730-BBC6-DC386E8BF556}" dt="2021-09-23T09:08:40.800" v="980" actId="478"/>
          <ac:spMkLst>
            <pc:docMk/>
            <pc:sldMk cId="3097360702" sldId="446"/>
            <ac:spMk id="114" creationId="{00000000-0000-0000-0000-000000000000}"/>
          </ac:spMkLst>
        </pc:spChg>
        <pc:picChg chg="mod">
          <ac:chgData name="Alexis PAIN" userId="b78671f6-15be-46ee-b9bf-27c91a325b9c" providerId="ADAL" clId="{5B946F25-BCF0-4730-BBC6-DC386E8BF556}" dt="2021-09-23T09:43:56.926" v="1959" actId="1076"/>
          <ac:picMkLst>
            <pc:docMk/>
            <pc:sldMk cId="3097360702" sldId="446"/>
            <ac:picMk id="4" creationId="{FCA9D11F-73C6-4768-B11F-ABFF10BAF293}"/>
          </ac:picMkLst>
        </pc:picChg>
        <pc:picChg chg="add mod">
          <ac:chgData name="Alexis PAIN" userId="b78671f6-15be-46ee-b9bf-27c91a325b9c" providerId="ADAL" clId="{5B946F25-BCF0-4730-BBC6-DC386E8BF556}" dt="2021-09-23T09:09:25.130" v="989" actId="1076"/>
          <ac:picMkLst>
            <pc:docMk/>
            <pc:sldMk cId="3097360702" sldId="446"/>
            <ac:picMk id="8" creationId="{39F9F39A-259B-4DBB-AA3C-8F184850BEE2}"/>
          </ac:picMkLst>
        </pc:picChg>
      </pc:sldChg>
      <pc:sldChg chg="addSp delSp modSp add del mod">
        <pc:chgData name="Alexis PAIN" userId="b78671f6-15be-46ee-b9bf-27c91a325b9c" providerId="ADAL" clId="{5B946F25-BCF0-4730-BBC6-DC386E8BF556}" dt="2021-10-01T14:08:30.207" v="5763" actId="2696"/>
        <pc:sldMkLst>
          <pc:docMk/>
          <pc:sldMk cId="442029095" sldId="447"/>
        </pc:sldMkLst>
        <pc:spChg chg="mod">
          <ac:chgData name="Alexis PAIN" userId="b78671f6-15be-46ee-b9bf-27c91a325b9c" providerId="ADAL" clId="{5B946F25-BCF0-4730-BBC6-DC386E8BF556}" dt="2021-09-23T09:24:30.094" v="1487" actId="14100"/>
          <ac:spMkLst>
            <pc:docMk/>
            <pc:sldMk cId="442029095" sldId="447"/>
            <ac:spMk id="6" creationId="{5E20247E-8AE2-9546-88DF-24BBEFC7E0A2}"/>
          </ac:spMkLst>
        </pc:spChg>
        <pc:spChg chg="add mod">
          <ac:chgData name="Alexis PAIN" userId="b78671f6-15be-46ee-b9bf-27c91a325b9c" providerId="ADAL" clId="{5B946F25-BCF0-4730-BBC6-DC386E8BF556}" dt="2021-09-23T12:11:47.942" v="2870" actId="1076"/>
          <ac:spMkLst>
            <pc:docMk/>
            <pc:sldMk cId="442029095" sldId="447"/>
            <ac:spMk id="7" creationId="{D542326C-277A-41DD-AB2F-8011C9C4C085}"/>
          </ac:spMkLst>
        </pc:spChg>
        <pc:spChg chg="mod">
          <ac:chgData name="Alexis PAIN" userId="b78671f6-15be-46ee-b9bf-27c91a325b9c" providerId="ADAL" clId="{5B946F25-BCF0-4730-BBC6-DC386E8BF556}" dt="2021-09-23T15:08:55.667" v="4966" actId="20577"/>
          <ac:spMkLst>
            <pc:docMk/>
            <pc:sldMk cId="442029095" sldId="447"/>
            <ac:spMk id="114" creationId="{00000000-0000-0000-0000-000000000000}"/>
          </ac:spMkLst>
        </pc:spChg>
        <pc:picChg chg="del mod">
          <ac:chgData name="Alexis PAIN" userId="b78671f6-15be-46ee-b9bf-27c91a325b9c" providerId="ADAL" clId="{5B946F25-BCF0-4730-BBC6-DC386E8BF556}" dt="2021-09-23T09:14:18.691" v="1097" actId="478"/>
          <ac:picMkLst>
            <pc:docMk/>
            <pc:sldMk cId="442029095" sldId="447"/>
            <ac:picMk id="3" creationId="{3D77C924-8ACB-4330-8CDC-607FDAA26365}"/>
          </ac:picMkLst>
        </pc:picChg>
        <pc:picChg chg="add mod">
          <ac:chgData name="Alexis PAIN" userId="b78671f6-15be-46ee-b9bf-27c91a325b9c" providerId="ADAL" clId="{5B946F25-BCF0-4730-BBC6-DC386E8BF556}" dt="2021-09-23T09:14:30.793" v="1102" actId="14100"/>
          <ac:picMkLst>
            <pc:docMk/>
            <pc:sldMk cId="442029095" sldId="447"/>
            <ac:picMk id="4" creationId="{3238118A-2879-4777-9691-903C11BEB02F}"/>
          </ac:picMkLst>
        </pc:picChg>
      </pc:sldChg>
      <pc:sldChg chg="addSp delSp modSp add del mod addCm modNotesTx">
        <pc:chgData name="Alexis PAIN" userId="b78671f6-15be-46ee-b9bf-27c91a325b9c" providerId="ADAL" clId="{5B946F25-BCF0-4730-BBC6-DC386E8BF556}" dt="2021-10-01T13:45:40.728" v="5562" actId="2696"/>
        <pc:sldMkLst>
          <pc:docMk/>
          <pc:sldMk cId="3442751515" sldId="448"/>
        </pc:sldMkLst>
        <pc:spChg chg="add del mod">
          <ac:chgData name="Alexis PAIN" userId="b78671f6-15be-46ee-b9bf-27c91a325b9c" providerId="ADAL" clId="{5B946F25-BCF0-4730-BBC6-DC386E8BF556}" dt="2021-09-23T13:41:55.973" v="3647" actId="478"/>
          <ac:spMkLst>
            <pc:docMk/>
            <pc:sldMk cId="3442751515" sldId="448"/>
            <ac:spMk id="2" creationId="{0216893F-768F-44F4-94C2-DDAE373367BB}"/>
          </ac:spMkLst>
        </pc:spChg>
        <pc:spChg chg="add mod">
          <ac:chgData name="Alexis PAIN" userId="b78671f6-15be-46ee-b9bf-27c91a325b9c" providerId="ADAL" clId="{5B946F25-BCF0-4730-BBC6-DC386E8BF556}" dt="2021-10-01T13:44:53.736" v="5558" actId="21"/>
          <ac:spMkLst>
            <pc:docMk/>
            <pc:sldMk cId="3442751515" sldId="448"/>
            <ac:spMk id="5" creationId="{3024B1B4-A634-4C81-8FA8-0485B4E1D32E}"/>
          </ac:spMkLst>
        </pc:spChg>
        <pc:picChg chg="mod">
          <ac:chgData name="Alexis PAIN" userId="b78671f6-15be-46ee-b9bf-27c91a325b9c" providerId="ADAL" clId="{5B946F25-BCF0-4730-BBC6-DC386E8BF556}" dt="2021-10-01T13:44:51.871" v="5556" actId="1076"/>
          <ac:picMkLst>
            <pc:docMk/>
            <pc:sldMk cId="3442751515" sldId="448"/>
            <ac:picMk id="4" creationId="{FCA9D11F-73C6-4768-B11F-ABFF10BAF293}"/>
          </ac:picMkLst>
        </pc:picChg>
        <pc:picChg chg="del">
          <ac:chgData name="Alexis PAIN" userId="b78671f6-15be-46ee-b9bf-27c91a325b9c" providerId="ADAL" clId="{5B946F25-BCF0-4730-BBC6-DC386E8BF556}" dt="2021-09-23T09:21:27.713" v="1312" actId="478"/>
          <ac:picMkLst>
            <pc:docMk/>
            <pc:sldMk cId="3442751515" sldId="448"/>
            <ac:picMk id="8" creationId="{39F9F39A-259B-4DBB-AA3C-8F184850BEE2}"/>
          </ac:picMkLst>
        </pc:picChg>
      </pc:sldChg>
      <pc:sldChg chg="addSp delSp modSp add del mod">
        <pc:chgData name="Alexis PAIN" userId="b78671f6-15be-46ee-b9bf-27c91a325b9c" providerId="ADAL" clId="{5B946F25-BCF0-4730-BBC6-DC386E8BF556}" dt="2021-10-01T14:15:04.197" v="5814" actId="2696"/>
        <pc:sldMkLst>
          <pc:docMk/>
          <pc:sldMk cId="1448747379" sldId="449"/>
        </pc:sldMkLst>
        <pc:spChg chg="add del mod">
          <ac:chgData name="Alexis PAIN" userId="b78671f6-15be-46ee-b9bf-27c91a325b9c" providerId="ADAL" clId="{5B946F25-BCF0-4730-BBC6-DC386E8BF556}" dt="2021-09-23T09:23:45.276" v="1452" actId="478"/>
          <ac:spMkLst>
            <pc:docMk/>
            <pc:sldMk cId="1448747379" sldId="449"/>
            <ac:spMk id="3" creationId="{C62BEF24-BB36-49EA-B09D-CC861CB5C64C}"/>
          </ac:spMkLst>
        </pc:spChg>
        <pc:spChg chg="del mod">
          <ac:chgData name="Alexis PAIN" userId="b78671f6-15be-46ee-b9bf-27c91a325b9c" providerId="ADAL" clId="{5B946F25-BCF0-4730-BBC6-DC386E8BF556}" dt="2021-10-01T14:14:39.968" v="5809" actId="21"/>
          <ac:spMkLst>
            <pc:docMk/>
            <pc:sldMk cId="1448747379" sldId="449"/>
            <ac:spMk id="6" creationId="{5E20247E-8AE2-9546-88DF-24BBEFC7E0A2}"/>
          </ac:spMkLst>
        </pc:spChg>
        <pc:spChg chg="del">
          <ac:chgData name="Alexis PAIN" userId="b78671f6-15be-46ee-b9bf-27c91a325b9c" providerId="ADAL" clId="{5B946F25-BCF0-4730-BBC6-DC386E8BF556}" dt="2021-09-23T09:23:48.561" v="1453" actId="478"/>
          <ac:spMkLst>
            <pc:docMk/>
            <pc:sldMk cId="1448747379" sldId="449"/>
            <ac:spMk id="7" creationId="{D542326C-277A-41DD-AB2F-8011C9C4C085}"/>
          </ac:spMkLst>
        </pc:spChg>
        <pc:spChg chg="del">
          <ac:chgData name="Alexis PAIN" userId="b78671f6-15be-46ee-b9bf-27c91a325b9c" providerId="ADAL" clId="{5B946F25-BCF0-4730-BBC6-DC386E8BF556}" dt="2021-09-23T09:23:42.384" v="1451" actId="478"/>
          <ac:spMkLst>
            <pc:docMk/>
            <pc:sldMk cId="1448747379" sldId="449"/>
            <ac:spMk id="114" creationId="{00000000-0000-0000-0000-000000000000}"/>
          </ac:spMkLst>
        </pc:spChg>
        <pc:picChg chg="add del mod">
          <ac:chgData name="Alexis PAIN" userId="b78671f6-15be-46ee-b9bf-27c91a325b9c" providerId="ADAL" clId="{5B946F25-BCF0-4730-BBC6-DC386E8BF556}" dt="2021-10-01T14:14:39.968" v="5809" actId="21"/>
          <ac:picMkLst>
            <pc:docMk/>
            <pc:sldMk cId="1448747379" sldId="449"/>
            <ac:picMk id="3" creationId="{60E87BD4-A97F-41F6-94AB-0787FDC5B29D}"/>
          </ac:picMkLst>
        </pc:picChg>
      </pc:sldChg>
      <pc:sldChg chg="addSp delSp modSp add del mod addCm">
        <pc:chgData name="Alexis PAIN" userId="b78671f6-15be-46ee-b9bf-27c91a325b9c" providerId="ADAL" clId="{5B946F25-BCF0-4730-BBC6-DC386E8BF556}" dt="2021-10-02T22:18:42.303" v="5937" actId="2696"/>
        <pc:sldMkLst>
          <pc:docMk/>
          <pc:sldMk cId="193301995" sldId="450"/>
        </pc:sldMkLst>
        <pc:spChg chg="add mod">
          <ac:chgData name="Alexis PAIN" userId="b78671f6-15be-46ee-b9bf-27c91a325b9c" providerId="ADAL" clId="{5B946F25-BCF0-4730-BBC6-DC386E8BF556}" dt="2021-10-02T22:16:42.111" v="5932" actId="21"/>
          <ac:spMkLst>
            <pc:docMk/>
            <pc:sldMk cId="193301995" sldId="450"/>
            <ac:spMk id="5" creationId="{94712D0A-5F45-4D45-986E-D4B95CB75229}"/>
          </ac:spMkLst>
        </pc:spChg>
        <pc:spChg chg="mod">
          <ac:chgData name="Alexis PAIN" userId="b78671f6-15be-46ee-b9bf-27c91a325b9c" providerId="ADAL" clId="{5B946F25-BCF0-4730-BBC6-DC386E8BF556}" dt="2021-09-23T09:44:00.686" v="1962" actId="20577"/>
          <ac:spMkLst>
            <pc:docMk/>
            <pc:sldMk cId="193301995" sldId="450"/>
            <ac:spMk id="6" creationId="{5E20247E-8AE2-9546-88DF-24BBEFC7E0A2}"/>
          </ac:spMkLst>
        </pc:spChg>
        <pc:picChg chg="del">
          <ac:chgData name="Alexis PAIN" userId="b78671f6-15be-46ee-b9bf-27c91a325b9c" providerId="ADAL" clId="{5B946F25-BCF0-4730-BBC6-DC386E8BF556}" dt="2021-09-23T09:25:52.487" v="1497" actId="478"/>
          <ac:picMkLst>
            <pc:docMk/>
            <pc:sldMk cId="193301995" sldId="450"/>
            <ac:picMk id="3" creationId="{60E87BD4-A97F-41F6-94AB-0787FDC5B29D}"/>
          </ac:picMkLst>
        </pc:picChg>
      </pc:sldChg>
      <pc:sldChg chg="modSp add del mod modNotesTx">
        <pc:chgData name="Alexis PAIN" userId="b78671f6-15be-46ee-b9bf-27c91a325b9c" providerId="ADAL" clId="{5B946F25-BCF0-4730-BBC6-DC386E8BF556}" dt="2021-10-02T22:24:59.829" v="6008" actId="2696"/>
        <pc:sldMkLst>
          <pc:docMk/>
          <pc:sldMk cId="3025982423" sldId="451"/>
        </pc:sldMkLst>
        <pc:spChg chg="mod">
          <ac:chgData name="Alexis PAIN" userId="b78671f6-15be-46ee-b9bf-27c91a325b9c" providerId="ADAL" clId="{5B946F25-BCF0-4730-BBC6-DC386E8BF556}" dt="2021-09-23T09:26:45.572" v="1524" actId="20577"/>
          <ac:spMkLst>
            <pc:docMk/>
            <pc:sldMk cId="3025982423" sldId="451"/>
            <ac:spMk id="6" creationId="{5E20247E-8AE2-9546-88DF-24BBEFC7E0A2}"/>
          </ac:spMkLst>
        </pc:spChg>
        <pc:spChg chg="mod">
          <ac:chgData name="Alexis PAIN" userId="b78671f6-15be-46ee-b9bf-27c91a325b9c" providerId="ADAL" clId="{5B946F25-BCF0-4730-BBC6-DC386E8BF556}" dt="2021-10-02T22:24:10.746" v="6001" actId="21"/>
          <ac:spMkLst>
            <pc:docMk/>
            <pc:sldMk cId="3025982423" sldId="451"/>
            <ac:spMk id="114" creationId="{00000000-0000-0000-0000-000000000000}"/>
          </ac:spMkLst>
        </pc:spChg>
      </pc:sldChg>
      <pc:sldChg chg="addSp modSp add del mod modAnim">
        <pc:chgData name="Alexis PAIN" userId="b78671f6-15be-46ee-b9bf-27c91a325b9c" providerId="ADAL" clId="{5B946F25-BCF0-4730-BBC6-DC386E8BF556}" dt="2021-10-01T11:15:08.420" v="5210" actId="1076"/>
        <pc:sldMkLst>
          <pc:docMk/>
          <pc:sldMk cId="3500073032" sldId="452"/>
        </pc:sldMkLst>
        <pc:spChg chg="mod">
          <ac:chgData name="Alexis PAIN" userId="b78671f6-15be-46ee-b9bf-27c91a325b9c" providerId="ADAL" clId="{5B946F25-BCF0-4730-BBC6-DC386E8BF556}" dt="2021-10-01T11:15:08.420" v="5210" actId="1076"/>
          <ac:spMkLst>
            <pc:docMk/>
            <pc:sldMk cId="3500073032" sldId="452"/>
            <ac:spMk id="2" creationId="{3E2B16BF-D90E-4CAB-9297-C4D120D86C1A}"/>
          </ac:spMkLst>
        </pc:spChg>
        <pc:spChg chg="add mod">
          <ac:chgData name="Alexis PAIN" userId="b78671f6-15be-46ee-b9bf-27c91a325b9c" providerId="ADAL" clId="{5B946F25-BCF0-4730-BBC6-DC386E8BF556}" dt="2021-09-23T12:12:04.918" v="2874"/>
          <ac:spMkLst>
            <pc:docMk/>
            <pc:sldMk cId="3500073032" sldId="452"/>
            <ac:spMk id="5" creationId="{6818AF18-CBB6-427B-A3E2-C96167856BB9}"/>
          </ac:spMkLst>
        </pc:spChg>
        <pc:spChg chg="mod">
          <ac:chgData name="Alexis PAIN" userId="b78671f6-15be-46ee-b9bf-27c91a325b9c" providerId="ADAL" clId="{5B946F25-BCF0-4730-BBC6-DC386E8BF556}" dt="2021-09-23T09:44:27.662" v="2002" actId="20577"/>
          <ac:spMkLst>
            <pc:docMk/>
            <pc:sldMk cId="3500073032" sldId="452"/>
            <ac:spMk id="6" creationId="{5E20247E-8AE2-9546-88DF-24BBEFC7E0A2}"/>
          </ac:spMkLst>
        </pc:spChg>
        <pc:spChg chg="mod">
          <ac:chgData name="Alexis PAIN" userId="b78671f6-15be-46ee-b9bf-27c91a325b9c" providerId="ADAL" clId="{5B946F25-BCF0-4730-BBC6-DC386E8BF556}" dt="2021-09-23T13:38:24.743" v="3485" actId="14100"/>
          <ac:spMkLst>
            <pc:docMk/>
            <pc:sldMk cId="3500073032" sldId="452"/>
            <ac:spMk id="114" creationId="{00000000-0000-0000-0000-000000000000}"/>
          </ac:spMkLst>
        </pc:spChg>
      </pc:sldChg>
      <pc:sldChg chg="modSp add mod">
        <pc:chgData name="Alexis PAIN" userId="b78671f6-15be-46ee-b9bf-27c91a325b9c" providerId="ADAL" clId="{5B946F25-BCF0-4730-BBC6-DC386E8BF556}" dt="2021-09-23T13:37:50.076" v="3480" actId="1035"/>
        <pc:sldMkLst>
          <pc:docMk/>
          <pc:sldMk cId="2166528375" sldId="453"/>
        </pc:sldMkLst>
        <pc:spChg chg="mod">
          <ac:chgData name="Alexis PAIN" userId="b78671f6-15be-46ee-b9bf-27c91a325b9c" providerId="ADAL" clId="{5B946F25-BCF0-4730-BBC6-DC386E8BF556}" dt="2021-09-23T13:37:50.076" v="3480" actId="1035"/>
          <ac:spMkLst>
            <pc:docMk/>
            <pc:sldMk cId="2166528375" sldId="453"/>
            <ac:spMk id="6" creationId="{5E20247E-8AE2-9546-88DF-24BBEFC7E0A2}"/>
          </ac:spMkLst>
        </pc:spChg>
        <pc:spChg chg="mod">
          <ac:chgData name="Alexis PAIN" userId="b78671f6-15be-46ee-b9bf-27c91a325b9c" providerId="ADAL" clId="{5B946F25-BCF0-4730-BBC6-DC386E8BF556}" dt="2021-09-23T12:17:54.374" v="3180" actId="20577"/>
          <ac:spMkLst>
            <pc:docMk/>
            <pc:sldMk cId="2166528375" sldId="453"/>
            <ac:spMk id="114" creationId="{00000000-0000-0000-0000-000000000000}"/>
          </ac:spMkLst>
        </pc:spChg>
      </pc:sldChg>
      <pc:sldChg chg="addSp delSp modSp add del mod">
        <pc:chgData name="Alexis PAIN" userId="b78671f6-15be-46ee-b9bf-27c91a325b9c" providerId="ADAL" clId="{5B946F25-BCF0-4730-BBC6-DC386E8BF556}" dt="2021-09-23T13:37:39.722" v="3462" actId="2696"/>
        <pc:sldMkLst>
          <pc:docMk/>
          <pc:sldMk cId="3314860416" sldId="454"/>
        </pc:sldMkLst>
        <pc:spChg chg="add mod">
          <ac:chgData name="Alexis PAIN" userId="b78671f6-15be-46ee-b9bf-27c91a325b9c" providerId="ADAL" clId="{5B946F25-BCF0-4730-BBC6-DC386E8BF556}" dt="2021-09-23T12:17:09.529" v="3175" actId="20577"/>
          <ac:spMkLst>
            <pc:docMk/>
            <pc:sldMk cId="3314860416" sldId="454"/>
            <ac:spMk id="2" creationId="{0A5CAA18-87B1-4BFE-BCD1-25581AE32D66}"/>
          </ac:spMkLst>
        </pc:spChg>
        <pc:spChg chg="mod">
          <ac:chgData name="Alexis PAIN" userId="b78671f6-15be-46ee-b9bf-27c91a325b9c" providerId="ADAL" clId="{5B946F25-BCF0-4730-BBC6-DC386E8BF556}" dt="2021-09-23T13:37:33.689" v="3461" actId="20577"/>
          <ac:spMkLst>
            <pc:docMk/>
            <pc:sldMk cId="3314860416" sldId="454"/>
            <ac:spMk id="6" creationId="{5E20247E-8AE2-9546-88DF-24BBEFC7E0A2}"/>
          </ac:spMkLst>
        </pc:spChg>
        <pc:picChg chg="del">
          <ac:chgData name="Alexis PAIN" userId="b78671f6-15be-46ee-b9bf-27c91a325b9c" providerId="ADAL" clId="{5B946F25-BCF0-4730-BBC6-DC386E8BF556}" dt="2021-09-23T12:44:25.816" v="3448" actId="478"/>
          <ac:picMkLst>
            <pc:docMk/>
            <pc:sldMk cId="3314860416" sldId="454"/>
            <ac:picMk id="4" creationId="{3238118A-2879-4777-9691-903C11BEB02F}"/>
          </ac:picMkLst>
        </pc:picChg>
        <pc:picChg chg="add mod">
          <ac:chgData name="Alexis PAIN" userId="b78671f6-15be-46ee-b9bf-27c91a325b9c" providerId="ADAL" clId="{5B946F25-BCF0-4730-BBC6-DC386E8BF556}" dt="2021-09-23T12:44:29.220" v="3449"/>
          <ac:picMkLst>
            <pc:docMk/>
            <pc:sldMk cId="3314860416" sldId="454"/>
            <ac:picMk id="5" creationId="{80B468B9-865B-4DD8-9D58-36D410C7F3CC}"/>
          </ac:picMkLst>
        </pc:picChg>
      </pc:sldChg>
      <pc:sldChg chg="addSp delSp modSp new del mod modNotesTx">
        <pc:chgData name="Alexis PAIN" userId="b78671f6-15be-46ee-b9bf-27c91a325b9c" providerId="ADAL" clId="{5B946F25-BCF0-4730-BBC6-DC386E8BF556}" dt="2021-10-02T22:21:04.365" v="5959" actId="2696"/>
        <pc:sldMkLst>
          <pc:docMk/>
          <pc:sldMk cId="4243027577" sldId="455"/>
        </pc:sldMkLst>
        <pc:spChg chg="del mod">
          <ac:chgData name="Alexis PAIN" userId="b78671f6-15be-46ee-b9bf-27c91a325b9c" providerId="ADAL" clId="{5B946F25-BCF0-4730-BBC6-DC386E8BF556}" dt="2021-09-23T12:44:04.176" v="3444" actId="478"/>
          <ac:spMkLst>
            <pc:docMk/>
            <pc:sldMk cId="4243027577" sldId="455"/>
            <ac:spMk id="2" creationId="{02D019C8-8499-4CBD-9AF8-DD5E4DBAA0AF}"/>
          </ac:spMkLst>
        </pc:spChg>
        <pc:spChg chg="add mod">
          <ac:chgData name="Alexis PAIN" userId="b78671f6-15be-46ee-b9bf-27c91a325b9c" providerId="ADAL" clId="{5B946F25-BCF0-4730-BBC6-DC386E8BF556}" dt="2021-09-23T12:19:09.818" v="3246" actId="20577"/>
          <ac:spMkLst>
            <pc:docMk/>
            <pc:sldMk cId="4243027577" sldId="455"/>
            <ac:spMk id="3" creationId="{F6CB3262-FA56-424F-B9B0-C328E8699275}"/>
          </ac:spMkLst>
        </pc:spChg>
        <pc:picChg chg="add mod">
          <ac:chgData name="Alexis PAIN" userId="b78671f6-15be-46ee-b9bf-27c91a325b9c" providerId="ADAL" clId="{5B946F25-BCF0-4730-BBC6-DC386E8BF556}" dt="2021-09-23T12:42:25.087" v="3285" actId="14100"/>
          <ac:picMkLst>
            <pc:docMk/>
            <pc:sldMk cId="4243027577" sldId="455"/>
            <ac:picMk id="5" creationId="{864C53E8-622F-40F9-A0DB-7D703CB36838}"/>
          </ac:picMkLst>
        </pc:picChg>
        <pc:picChg chg="add mod">
          <ac:chgData name="Alexis PAIN" userId="b78671f6-15be-46ee-b9bf-27c91a325b9c" providerId="ADAL" clId="{5B946F25-BCF0-4730-BBC6-DC386E8BF556}" dt="2021-09-23T12:47:45.997" v="3458" actId="1076"/>
          <ac:picMkLst>
            <pc:docMk/>
            <pc:sldMk cId="4243027577" sldId="455"/>
            <ac:picMk id="7" creationId="{18BC8791-FE13-4327-A8B3-260CD98C0F21}"/>
          </ac:picMkLst>
        </pc:picChg>
      </pc:sldChg>
      <pc:sldChg chg="addSp delSp modSp add del mod">
        <pc:chgData name="Alexis PAIN" userId="b78671f6-15be-46ee-b9bf-27c91a325b9c" providerId="ADAL" clId="{5B946F25-BCF0-4730-BBC6-DC386E8BF556}" dt="2021-10-02T22:22:18.718" v="5977" actId="2696"/>
        <pc:sldMkLst>
          <pc:docMk/>
          <pc:sldMk cId="1285360962" sldId="456"/>
        </pc:sldMkLst>
        <pc:spChg chg="add mod">
          <ac:chgData name="Alexis PAIN" userId="b78671f6-15be-46ee-b9bf-27c91a325b9c" providerId="ADAL" clId="{5B946F25-BCF0-4730-BBC6-DC386E8BF556}" dt="2021-10-02T22:22:01.102" v="5972" actId="21"/>
          <ac:spMkLst>
            <pc:docMk/>
            <pc:sldMk cId="1285360962" sldId="456"/>
            <ac:spMk id="7" creationId="{A101FB49-5A92-48E9-ADBC-04CD4EC6B08C}"/>
          </ac:spMkLst>
        </pc:spChg>
        <pc:picChg chg="del">
          <ac:chgData name="Alexis PAIN" userId="b78671f6-15be-46ee-b9bf-27c91a325b9c" providerId="ADAL" clId="{5B946F25-BCF0-4730-BBC6-DC386E8BF556}" dt="2021-09-23T12:44:21.896" v="3446" actId="478"/>
          <ac:picMkLst>
            <pc:docMk/>
            <pc:sldMk cId="1285360962" sldId="456"/>
            <ac:picMk id="4" creationId="{3238118A-2879-4777-9691-903C11BEB02F}"/>
          </ac:picMkLst>
        </pc:picChg>
        <pc:picChg chg="add mod">
          <ac:chgData name="Alexis PAIN" userId="b78671f6-15be-46ee-b9bf-27c91a325b9c" providerId="ADAL" clId="{5B946F25-BCF0-4730-BBC6-DC386E8BF556}" dt="2021-09-23T12:44:22.260" v="3447"/>
          <ac:picMkLst>
            <pc:docMk/>
            <pc:sldMk cId="1285360962" sldId="456"/>
            <ac:picMk id="5" creationId="{74164F5F-42B9-449D-B9A6-B2A53A4F4FFC}"/>
          </ac:picMkLst>
        </pc:picChg>
      </pc:sldChg>
      <pc:sldChg chg="add del">
        <pc:chgData name="Alexis PAIN" userId="b78671f6-15be-46ee-b9bf-27c91a325b9c" providerId="ADAL" clId="{5B946F25-BCF0-4730-BBC6-DC386E8BF556}" dt="2021-09-23T14:18:37.332" v="4161"/>
        <pc:sldMkLst>
          <pc:docMk/>
          <pc:sldMk cId="4037269096" sldId="457"/>
        </pc:sldMkLst>
      </pc:sldChg>
      <pc:sldChg chg="modSp">
        <pc:chgData name="Alexis PAIN" userId="b78671f6-15be-46ee-b9bf-27c91a325b9c" providerId="ADAL" clId="{5B946F25-BCF0-4730-BBC6-DC386E8BF556}" dt="2021-10-01T06:24:32.878" v="4982"/>
        <pc:sldMkLst>
          <pc:docMk/>
          <pc:sldMk cId="3768523349" sldId="466"/>
        </pc:sldMkLst>
        <pc:graphicFrameChg chg="mod">
          <ac:chgData name="Alexis PAIN" userId="b78671f6-15be-46ee-b9bf-27c91a325b9c" providerId="ADAL" clId="{5B946F25-BCF0-4730-BBC6-DC386E8BF556}" dt="2021-10-01T06:24:32.878" v="4982"/>
          <ac:graphicFrameMkLst>
            <pc:docMk/>
            <pc:sldMk cId="3768523349" sldId="466"/>
            <ac:graphicFrameMk id="2" creationId="{6A0EECAD-3F4D-4D4D-85CD-0E1ABE4D71F3}"/>
          </ac:graphicFrameMkLst>
        </pc:graphicFrameChg>
      </pc:sldChg>
      <pc:sldChg chg="modSp mod">
        <pc:chgData name="Alexis PAIN" userId="b78671f6-15be-46ee-b9bf-27c91a325b9c" providerId="ADAL" clId="{5B946F25-BCF0-4730-BBC6-DC386E8BF556}" dt="2021-10-01T06:31:01.395" v="4993" actId="13926"/>
        <pc:sldMkLst>
          <pc:docMk/>
          <pc:sldMk cId="2889930414" sldId="467"/>
        </pc:sldMkLst>
        <pc:graphicFrameChg chg="modGraphic">
          <ac:chgData name="Alexis PAIN" userId="b78671f6-15be-46ee-b9bf-27c91a325b9c" providerId="ADAL" clId="{5B946F25-BCF0-4730-BBC6-DC386E8BF556}" dt="2021-10-01T06:31:01.395" v="4993" actId="13926"/>
          <ac:graphicFrameMkLst>
            <pc:docMk/>
            <pc:sldMk cId="2889930414" sldId="467"/>
            <ac:graphicFrameMk id="2" creationId="{6A0EECAD-3F4D-4D4D-85CD-0E1ABE4D71F3}"/>
          </ac:graphicFrameMkLst>
        </pc:graphicFrameChg>
      </pc:sldChg>
      <pc:sldChg chg="addSp delSp modSp mod">
        <pc:chgData name="Alexis PAIN" userId="b78671f6-15be-46ee-b9bf-27c91a325b9c" providerId="ADAL" clId="{5B946F25-BCF0-4730-BBC6-DC386E8BF556}" dt="2021-10-01T07:13:09.440" v="5006" actId="13926"/>
        <pc:sldMkLst>
          <pc:docMk/>
          <pc:sldMk cId="1324698650" sldId="472"/>
        </pc:sldMkLst>
        <pc:graphicFrameChg chg="add del mod modGraphic">
          <ac:chgData name="Alexis PAIN" userId="b78671f6-15be-46ee-b9bf-27c91a325b9c" providerId="ADAL" clId="{5B946F25-BCF0-4730-BBC6-DC386E8BF556}" dt="2021-10-01T07:13:09.440" v="5006" actId="13926"/>
          <ac:graphicFrameMkLst>
            <pc:docMk/>
            <pc:sldMk cId="1324698650" sldId="472"/>
            <ac:graphicFrameMk id="2" creationId="{6A0EECAD-3F4D-4D4D-85CD-0E1ABE4D71F3}"/>
          </ac:graphicFrameMkLst>
        </pc:graphicFrameChg>
      </pc:sldChg>
      <pc:sldChg chg="modSp mod">
        <pc:chgData name="Alexis PAIN" userId="b78671f6-15be-46ee-b9bf-27c91a325b9c" providerId="ADAL" clId="{5B946F25-BCF0-4730-BBC6-DC386E8BF556}" dt="2021-10-04T07:42:35.737" v="6218" actId="20577"/>
        <pc:sldMkLst>
          <pc:docMk/>
          <pc:sldMk cId="2088034320" sldId="473"/>
        </pc:sldMkLst>
        <pc:spChg chg="mod">
          <ac:chgData name="Alexis PAIN" userId="b78671f6-15be-46ee-b9bf-27c91a325b9c" providerId="ADAL" clId="{5B946F25-BCF0-4730-BBC6-DC386E8BF556}" dt="2021-10-04T07:42:35.737" v="6218" actId="20577"/>
          <ac:spMkLst>
            <pc:docMk/>
            <pc:sldMk cId="2088034320" sldId="473"/>
            <ac:spMk id="2" creationId="{2CEF1B7E-C78A-4E45-AF68-C88303977A3F}"/>
          </ac:spMkLst>
        </pc:spChg>
      </pc:sldChg>
      <pc:sldChg chg="addSp delSp modSp mod">
        <pc:chgData name="Alexis PAIN" userId="b78671f6-15be-46ee-b9bf-27c91a325b9c" providerId="ADAL" clId="{5B946F25-BCF0-4730-BBC6-DC386E8BF556}" dt="2021-10-01T13:05:46.334" v="5375" actId="1076"/>
        <pc:sldMkLst>
          <pc:docMk/>
          <pc:sldMk cId="2598620155" sldId="475"/>
        </pc:sldMkLst>
        <pc:spChg chg="add del">
          <ac:chgData name="Alexis PAIN" userId="b78671f6-15be-46ee-b9bf-27c91a325b9c" providerId="ADAL" clId="{5B946F25-BCF0-4730-BBC6-DC386E8BF556}" dt="2021-10-01T12:55:58.110" v="5212"/>
          <ac:spMkLst>
            <pc:docMk/>
            <pc:sldMk cId="2598620155" sldId="475"/>
            <ac:spMk id="2" creationId="{74080D10-F025-43DC-A258-C9D35C6259FB}"/>
          </ac:spMkLst>
        </pc:spChg>
        <pc:spChg chg="mod">
          <ac:chgData name="Alexis PAIN" userId="b78671f6-15be-46ee-b9bf-27c91a325b9c" providerId="ADAL" clId="{5B946F25-BCF0-4730-BBC6-DC386E8BF556}" dt="2021-10-01T13:03:06.645" v="5276" actId="1076"/>
          <ac:spMkLst>
            <pc:docMk/>
            <pc:sldMk cId="2598620155" sldId="475"/>
            <ac:spMk id="15" creationId="{876AB4B5-129A-7F43-9340-1BAF49B9B459}"/>
          </ac:spMkLst>
        </pc:spChg>
        <pc:picChg chg="add del mod">
          <ac:chgData name="Alexis PAIN" userId="b78671f6-15be-46ee-b9bf-27c91a325b9c" providerId="ADAL" clId="{5B946F25-BCF0-4730-BBC6-DC386E8BF556}" dt="2021-10-01T12:56:23.540" v="5226"/>
          <ac:picMkLst>
            <pc:docMk/>
            <pc:sldMk cId="2598620155" sldId="475"/>
            <ac:picMk id="3" creationId="{F00425FF-D0DB-4441-85D4-75201F581680}"/>
          </ac:picMkLst>
        </pc:picChg>
        <pc:picChg chg="add mod">
          <ac:chgData name="Alexis PAIN" userId="b78671f6-15be-46ee-b9bf-27c91a325b9c" providerId="ADAL" clId="{5B946F25-BCF0-4730-BBC6-DC386E8BF556}" dt="2021-10-01T12:58:23.034" v="5232" actId="14100"/>
          <ac:picMkLst>
            <pc:docMk/>
            <pc:sldMk cId="2598620155" sldId="475"/>
            <ac:picMk id="5" creationId="{4E0CF58D-C026-4E77-AA82-3DCE2B38C2AF}"/>
          </ac:picMkLst>
        </pc:picChg>
        <pc:picChg chg="add mod">
          <ac:chgData name="Alexis PAIN" userId="b78671f6-15be-46ee-b9bf-27c91a325b9c" providerId="ADAL" clId="{5B946F25-BCF0-4730-BBC6-DC386E8BF556}" dt="2021-10-01T13:05:41.112" v="5374" actId="1076"/>
          <ac:picMkLst>
            <pc:docMk/>
            <pc:sldMk cId="2598620155" sldId="475"/>
            <ac:picMk id="9" creationId="{03D9A24B-EDA6-441F-A875-54389798E5B6}"/>
          </ac:picMkLst>
        </pc:picChg>
        <pc:picChg chg="add del mod">
          <ac:chgData name="Alexis PAIN" userId="b78671f6-15be-46ee-b9bf-27c91a325b9c" providerId="ADAL" clId="{5B946F25-BCF0-4730-BBC6-DC386E8BF556}" dt="2021-10-01T13:02:17.411" v="5265"/>
          <ac:picMkLst>
            <pc:docMk/>
            <pc:sldMk cId="2598620155" sldId="475"/>
            <ac:picMk id="10" creationId="{A4C360C0-0DBE-4F06-9A8F-25B7EFAE708E}"/>
          </ac:picMkLst>
        </pc:picChg>
        <pc:picChg chg="add mod">
          <ac:chgData name="Alexis PAIN" userId="b78671f6-15be-46ee-b9bf-27c91a325b9c" providerId="ADAL" clId="{5B946F25-BCF0-4730-BBC6-DC386E8BF556}" dt="2021-10-01T13:05:46.334" v="5375" actId="1076"/>
          <ac:picMkLst>
            <pc:docMk/>
            <pc:sldMk cId="2598620155" sldId="475"/>
            <ac:picMk id="11" creationId="{5765D9B4-21A2-49EB-BF1F-8BC74861B8B7}"/>
          </ac:picMkLst>
        </pc:picChg>
        <pc:picChg chg="add mod">
          <ac:chgData name="Alexis PAIN" userId="b78671f6-15be-46ee-b9bf-27c91a325b9c" providerId="ADAL" clId="{5B946F25-BCF0-4730-BBC6-DC386E8BF556}" dt="2021-10-01T13:05:23.413" v="5369" actId="1076"/>
          <ac:picMkLst>
            <pc:docMk/>
            <pc:sldMk cId="2598620155" sldId="475"/>
            <ac:picMk id="1026" creationId="{3E02987A-FA40-4F3C-84D4-67B2D243C4A3}"/>
          </ac:picMkLst>
        </pc:picChg>
        <pc:picChg chg="add mod">
          <ac:chgData name="Alexis PAIN" userId="b78671f6-15be-46ee-b9bf-27c91a325b9c" providerId="ADAL" clId="{5B946F25-BCF0-4730-BBC6-DC386E8BF556}" dt="2021-10-01T13:05:31.761" v="5372" actId="1076"/>
          <ac:picMkLst>
            <pc:docMk/>
            <pc:sldMk cId="2598620155" sldId="475"/>
            <ac:picMk id="1028" creationId="{633CDE16-0B82-4843-B045-A895D7120022}"/>
          </ac:picMkLst>
        </pc:picChg>
      </pc:sldChg>
      <pc:sldChg chg="new del">
        <pc:chgData name="Alexis PAIN" userId="b78671f6-15be-46ee-b9bf-27c91a325b9c" providerId="ADAL" clId="{5B946F25-BCF0-4730-BBC6-DC386E8BF556}" dt="2021-10-01T09:14:18.854" v="5035" actId="680"/>
        <pc:sldMkLst>
          <pc:docMk/>
          <pc:sldMk cId="2710961269" sldId="477"/>
        </pc:sldMkLst>
      </pc:sldChg>
      <pc:sldChg chg="addSp delSp modSp add del mod">
        <pc:chgData name="Alexis PAIN" userId="b78671f6-15be-46ee-b9bf-27c91a325b9c" providerId="ADAL" clId="{5B946F25-BCF0-4730-BBC6-DC386E8BF556}" dt="2021-10-01T09:25:19.434" v="5119" actId="2696"/>
        <pc:sldMkLst>
          <pc:docMk/>
          <pc:sldMk cId="3686041987" sldId="477"/>
        </pc:sldMkLst>
        <pc:spChg chg="add del mod">
          <ac:chgData name="Alexis PAIN" userId="b78671f6-15be-46ee-b9bf-27c91a325b9c" providerId="ADAL" clId="{5B946F25-BCF0-4730-BBC6-DC386E8BF556}" dt="2021-10-01T09:23:42.920" v="5103" actId="478"/>
          <ac:spMkLst>
            <pc:docMk/>
            <pc:sldMk cId="3686041987" sldId="477"/>
            <ac:spMk id="4" creationId="{19E73703-FE33-43E3-9089-10ACFAF4A29C}"/>
          </ac:spMkLst>
        </pc:spChg>
        <pc:spChg chg="mod">
          <ac:chgData name="Alexis PAIN" userId="b78671f6-15be-46ee-b9bf-27c91a325b9c" providerId="ADAL" clId="{5B946F25-BCF0-4730-BBC6-DC386E8BF556}" dt="2021-10-01T09:14:46.040" v="5096" actId="20577"/>
          <ac:spMkLst>
            <pc:docMk/>
            <pc:sldMk cId="3686041987" sldId="477"/>
            <ac:spMk id="6" creationId="{5E20247E-8AE2-9546-88DF-24BBEFC7E0A2}"/>
          </ac:spMkLst>
        </pc:spChg>
        <pc:spChg chg="del">
          <ac:chgData name="Alexis PAIN" userId="b78671f6-15be-46ee-b9bf-27c91a325b9c" providerId="ADAL" clId="{5B946F25-BCF0-4730-BBC6-DC386E8BF556}" dt="2021-10-01T09:14:51.559" v="5097" actId="478"/>
          <ac:spMkLst>
            <pc:docMk/>
            <pc:sldMk cId="3686041987" sldId="477"/>
            <ac:spMk id="114" creationId="{00000000-0000-0000-0000-000000000000}"/>
          </ac:spMkLst>
        </pc:spChg>
        <pc:picChg chg="del">
          <ac:chgData name="Alexis PAIN" userId="b78671f6-15be-46ee-b9bf-27c91a325b9c" providerId="ADAL" clId="{5B946F25-BCF0-4730-BBC6-DC386E8BF556}" dt="2021-10-01T09:14:53.713" v="5098" actId="478"/>
          <ac:picMkLst>
            <pc:docMk/>
            <pc:sldMk cId="3686041987" sldId="477"/>
            <ac:picMk id="3" creationId="{3D77C924-8ACB-4330-8CDC-607FDAA26365}"/>
          </ac:picMkLst>
        </pc:picChg>
        <pc:picChg chg="add del mod">
          <ac:chgData name="Alexis PAIN" userId="b78671f6-15be-46ee-b9bf-27c91a325b9c" providerId="ADAL" clId="{5B946F25-BCF0-4730-BBC6-DC386E8BF556}" dt="2021-10-01T09:21:43.040" v="5102" actId="478"/>
          <ac:picMkLst>
            <pc:docMk/>
            <pc:sldMk cId="3686041987" sldId="477"/>
            <ac:picMk id="7" creationId="{DE973DA2-72CE-4867-8A81-B2AA9AC28992}"/>
          </ac:picMkLst>
        </pc:picChg>
        <pc:picChg chg="add del mod">
          <ac:chgData name="Alexis PAIN" userId="b78671f6-15be-46ee-b9bf-27c91a325b9c" providerId="ADAL" clId="{5B946F25-BCF0-4730-BBC6-DC386E8BF556}" dt="2021-10-01T09:25:12.305" v="5116" actId="21"/>
          <ac:picMkLst>
            <pc:docMk/>
            <pc:sldMk cId="3686041987" sldId="477"/>
            <ac:picMk id="9" creationId="{F40FA4B5-4708-4F2A-8699-5DC955C09A9F}"/>
          </ac:picMkLst>
        </pc:picChg>
      </pc:sldChg>
      <pc:sldChg chg="addSp delSp modSp add mod delAnim">
        <pc:chgData name="Alexis PAIN" userId="b78671f6-15be-46ee-b9bf-27c91a325b9c" providerId="ADAL" clId="{5B946F25-BCF0-4730-BBC6-DC386E8BF556}" dt="2021-10-01T09:42:23.899" v="5146" actId="1076"/>
        <pc:sldMkLst>
          <pc:docMk/>
          <pc:sldMk cId="253284112" sldId="478"/>
        </pc:sldMkLst>
        <pc:spChg chg="mod">
          <ac:chgData name="Alexis PAIN" userId="b78671f6-15be-46ee-b9bf-27c91a325b9c" providerId="ADAL" clId="{5B946F25-BCF0-4730-BBC6-DC386E8BF556}" dt="2021-10-01T09:24:58.424" v="5112"/>
          <ac:spMkLst>
            <pc:docMk/>
            <pc:sldMk cId="253284112" sldId="478"/>
            <ac:spMk id="2" creationId="{23258FC2-8438-4CBA-AD6E-45B30001F109}"/>
          </ac:spMkLst>
        </pc:spChg>
        <pc:spChg chg="del">
          <ac:chgData name="Alexis PAIN" userId="b78671f6-15be-46ee-b9bf-27c91a325b9c" providerId="ADAL" clId="{5B946F25-BCF0-4730-BBC6-DC386E8BF556}" dt="2021-10-01T09:25:04.788" v="5113" actId="478"/>
          <ac:spMkLst>
            <pc:docMk/>
            <pc:sldMk cId="253284112" sldId="478"/>
            <ac:spMk id="4" creationId="{3EDD771F-A26A-4179-B4A7-2335788933CC}"/>
          </ac:spMkLst>
        </pc:spChg>
        <pc:picChg chg="add del mod">
          <ac:chgData name="Alexis PAIN" userId="b78671f6-15be-46ee-b9bf-27c91a325b9c" providerId="ADAL" clId="{5B946F25-BCF0-4730-BBC6-DC386E8BF556}" dt="2021-10-01T09:41:58.987" v="5140" actId="478"/>
          <ac:picMkLst>
            <pc:docMk/>
            <pc:sldMk cId="253284112" sldId="478"/>
            <ac:picMk id="5" creationId="{F9F42134-E20F-4224-88B1-98C3558D6201}"/>
          </ac:picMkLst>
        </pc:picChg>
        <pc:picChg chg="del">
          <ac:chgData name="Alexis PAIN" userId="b78671f6-15be-46ee-b9bf-27c91a325b9c" providerId="ADAL" clId="{5B946F25-BCF0-4730-BBC6-DC386E8BF556}" dt="2021-10-01T09:25:08.906" v="5115" actId="478"/>
          <ac:picMkLst>
            <pc:docMk/>
            <pc:sldMk cId="253284112" sldId="478"/>
            <ac:picMk id="6" creationId="{E5367710-A2F4-4647-A784-DAC990519FCA}"/>
          </ac:picMkLst>
        </pc:picChg>
        <pc:picChg chg="del">
          <ac:chgData name="Alexis PAIN" userId="b78671f6-15be-46ee-b9bf-27c91a325b9c" providerId="ADAL" clId="{5B946F25-BCF0-4730-BBC6-DC386E8BF556}" dt="2021-10-01T09:25:06.838" v="5114" actId="478"/>
          <ac:picMkLst>
            <pc:docMk/>
            <pc:sldMk cId="253284112" sldId="478"/>
            <ac:picMk id="7" creationId="{B8C1AB3B-8694-4E76-9D27-853447FE4107}"/>
          </ac:picMkLst>
        </pc:picChg>
        <pc:picChg chg="add del mod ord">
          <ac:chgData name="Alexis PAIN" userId="b78671f6-15be-46ee-b9bf-27c91a325b9c" providerId="ADAL" clId="{5B946F25-BCF0-4730-BBC6-DC386E8BF556}" dt="2021-10-01T09:28:02.242" v="5139" actId="478"/>
          <ac:picMkLst>
            <pc:docMk/>
            <pc:sldMk cId="253284112" sldId="478"/>
            <ac:picMk id="8" creationId="{2F792D82-EB44-4253-96ED-91D6E31DB0B8}"/>
          </ac:picMkLst>
        </pc:picChg>
        <pc:picChg chg="add mod">
          <ac:chgData name="Alexis PAIN" userId="b78671f6-15be-46ee-b9bf-27c91a325b9c" providerId="ADAL" clId="{5B946F25-BCF0-4730-BBC6-DC386E8BF556}" dt="2021-10-01T09:42:23.899" v="5146" actId="1076"/>
          <ac:picMkLst>
            <pc:docMk/>
            <pc:sldMk cId="253284112" sldId="478"/>
            <ac:picMk id="10" creationId="{0EDA1C90-9AD9-48F0-AFC6-75A4B41AFA33}"/>
          </ac:picMkLst>
        </pc:picChg>
      </pc:sldChg>
      <pc:sldChg chg="delSp modSp add mod ord">
        <pc:chgData name="Alexis PAIN" userId="b78671f6-15be-46ee-b9bf-27c91a325b9c" providerId="ADAL" clId="{5B946F25-BCF0-4730-BBC6-DC386E8BF556}" dt="2021-10-01T09:27:59.503" v="5138"/>
        <pc:sldMkLst>
          <pc:docMk/>
          <pc:sldMk cId="3534197887" sldId="480"/>
        </pc:sldMkLst>
        <pc:picChg chg="del">
          <ac:chgData name="Alexis PAIN" userId="b78671f6-15be-46ee-b9bf-27c91a325b9c" providerId="ADAL" clId="{5B946F25-BCF0-4730-BBC6-DC386E8BF556}" dt="2021-10-01T09:27:36.967" v="5132" actId="478"/>
          <ac:picMkLst>
            <pc:docMk/>
            <pc:sldMk cId="3534197887" sldId="480"/>
            <ac:picMk id="5" creationId="{F9F42134-E20F-4224-88B1-98C3558D6201}"/>
          </ac:picMkLst>
        </pc:picChg>
        <pc:picChg chg="mod">
          <ac:chgData name="Alexis PAIN" userId="b78671f6-15be-46ee-b9bf-27c91a325b9c" providerId="ADAL" clId="{5B946F25-BCF0-4730-BBC6-DC386E8BF556}" dt="2021-10-01T09:27:55.183" v="5136" actId="1076"/>
          <ac:picMkLst>
            <pc:docMk/>
            <pc:sldMk cId="3534197887" sldId="480"/>
            <ac:picMk id="8" creationId="{2F792D82-EB44-4253-96ED-91D6E31DB0B8}"/>
          </ac:picMkLst>
        </pc:picChg>
      </pc:sldChg>
      <pc:sldChg chg="addSp delSp modSp add mod modNotesTx">
        <pc:chgData name="Alexis PAIN" userId="b78671f6-15be-46ee-b9bf-27c91a325b9c" providerId="ADAL" clId="{5B946F25-BCF0-4730-BBC6-DC386E8BF556}" dt="2021-10-01T14:16:07.743" v="5827"/>
        <pc:sldMkLst>
          <pc:docMk/>
          <pc:sldMk cId="2151171373" sldId="482"/>
        </pc:sldMkLst>
        <pc:spChg chg="del">
          <ac:chgData name="Alexis PAIN" userId="b78671f6-15be-46ee-b9bf-27c91a325b9c" providerId="ADAL" clId="{5B946F25-BCF0-4730-BBC6-DC386E8BF556}" dt="2021-10-01T13:25:01.828" v="5390" actId="478"/>
          <ac:spMkLst>
            <pc:docMk/>
            <pc:sldMk cId="2151171373" sldId="482"/>
            <ac:spMk id="2" creationId="{23258FC2-8438-4CBA-AD6E-45B30001F109}"/>
          </ac:spMkLst>
        </pc:spChg>
        <pc:spChg chg="add mod">
          <ac:chgData name="Alexis PAIN" userId="b78671f6-15be-46ee-b9bf-27c91a325b9c" providerId="ADAL" clId="{5B946F25-BCF0-4730-BBC6-DC386E8BF556}" dt="2021-10-01T13:41:30.448" v="5531" actId="14100"/>
          <ac:spMkLst>
            <pc:docMk/>
            <pc:sldMk cId="2151171373" sldId="482"/>
            <ac:spMk id="3" creationId="{FFFC21E4-FEED-43F3-BACC-8B930360BAFE}"/>
          </ac:spMkLst>
        </pc:spChg>
        <pc:spChg chg="add del mod">
          <ac:chgData name="Alexis PAIN" userId="b78671f6-15be-46ee-b9bf-27c91a325b9c" providerId="ADAL" clId="{5B946F25-BCF0-4730-BBC6-DC386E8BF556}" dt="2021-10-01T13:31:01.329" v="5410" actId="478"/>
          <ac:spMkLst>
            <pc:docMk/>
            <pc:sldMk cId="2151171373" sldId="482"/>
            <ac:spMk id="4" creationId="{BD4259E4-FC4E-476F-BE0D-C8DD2AF26504}"/>
          </ac:spMkLst>
        </pc:spChg>
        <pc:spChg chg="add mod">
          <ac:chgData name="Alexis PAIN" userId="b78671f6-15be-46ee-b9bf-27c91a325b9c" providerId="ADAL" clId="{5B946F25-BCF0-4730-BBC6-DC386E8BF556}" dt="2021-10-01T13:41:59.966" v="5536" actId="20577"/>
          <ac:spMkLst>
            <pc:docMk/>
            <pc:sldMk cId="2151171373" sldId="482"/>
            <ac:spMk id="5" creationId="{658C159A-EE7B-4BB2-9BF7-6617C4856E45}"/>
          </ac:spMkLst>
        </pc:spChg>
        <pc:spChg chg="add mod">
          <ac:chgData name="Alexis PAIN" userId="b78671f6-15be-46ee-b9bf-27c91a325b9c" providerId="ADAL" clId="{5B946F25-BCF0-4730-BBC6-DC386E8BF556}" dt="2021-10-01T13:34:57.252" v="5478" actId="20577"/>
          <ac:spMkLst>
            <pc:docMk/>
            <pc:sldMk cId="2151171373" sldId="482"/>
            <ac:spMk id="7" creationId="{2CF08FB8-317E-4C69-B878-75D6A435D8B8}"/>
          </ac:spMkLst>
        </pc:spChg>
        <pc:spChg chg="add mod">
          <ac:chgData name="Alexis PAIN" userId="b78671f6-15be-46ee-b9bf-27c91a325b9c" providerId="ADAL" clId="{5B946F25-BCF0-4730-BBC6-DC386E8BF556}" dt="2021-10-01T13:42:10.693" v="5537" actId="1076"/>
          <ac:spMkLst>
            <pc:docMk/>
            <pc:sldMk cId="2151171373" sldId="482"/>
            <ac:spMk id="9" creationId="{846075AD-6CF4-4234-BBB7-4800A5B7CC2D}"/>
          </ac:spMkLst>
        </pc:spChg>
        <pc:spChg chg="add mod">
          <ac:chgData name="Alexis PAIN" userId="b78671f6-15be-46ee-b9bf-27c91a325b9c" providerId="ADAL" clId="{5B946F25-BCF0-4730-BBC6-DC386E8BF556}" dt="2021-10-01T13:36:27.594" v="5511" actId="1076"/>
          <ac:spMkLst>
            <pc:docMk/>
            <pc:sldMk cId="2151171373" sldId="482"/>
            <ac:spMk id="10" creationId="{1DAE2A09-69F7-4FD1-A579-71610BD98F75}"/>
          </ac:spMkLst>
        </pc:spChg>
        <pc:spChg chg="add mod">
          <ac:chgData name="Alexis PAIN" userId="b78671f6-15be-46ee-b9bf-27c91a325b9c" providerId="ADAL" clId="{5B946F25-BCF0-4730-BBC6-DC386E8BF556}" dt="2021-10-01T13:41:42.332" v="5533" actId="1076"/>
          <ac:spMkLst>
            <pc:docMk/>
            <pc:sldMk cId="2151171373" sldId="482"/>
            <ac:spMk id="11" creationId="{44C8D9EA-84BD-4991-B50D-61D9F663952D}"/>
          </ac:spMkLst>
        </pc:spChg>
        <pc:spChg chg="add del mod">
          <ac:chgData name="Alexis PAIN" userId="b78671f6-15be-46ee-b9bf-27c91a325b9c" providerId="ADAL" clId="{5B946F25-BCF0-4730-BBC6-DC386E8BF556}" dt="2021-10-01T13:41:10.941" v="5526"/>
          <ac:spMkLst>
            <pc:docMk/>
            <pc:sldMk cId="2151171373" sldId="482"/>
            <ac:spMk id="12" creationId="{BF885357-96DC-4825-9464-94B5319B42CF}"/>
          </ac:spMkLst>
        </pc:spChg>
        <pc:spChg chg="add mod">
          <ac:chgData name="Alexis PAIN" userId="b78671f6-15be-46ee-b9bf-27c91a325b9c" providerId="ADAL" clId="{5B946F25-BCF0-4730-BBC6-DC386E8BF556}" dt="2021-10-01T14:16:07.743" v="5827"/>
          <ac:spMkLst>
            <pc:docMk/>
            <pc:sldMk cId="2151171373" sldId="482"/>
            <ac:spMk id="13" creationId="{E13316B6-FAC6-4AB5-AEBB-8A00CB433CCE}"/>
          </ac:spMkLst>
        </pc:spChg>
        <pc:picChg chg="add mod">
          <ac:chgData name="Alexis PAIN" userId="b78671f6-15be-46ee-b9bf-27c91a325b9c" providerId="ADAL" clId="{5B946F25-BCF0-4730-BBC6-DC386E8BF556}" dt="2021-10-01T13:41:54.817" v="5535" actId="1076"/>
          <ac:picMkLst>
            <pc:docMk/>
            <pc:sldMk cId="2151171373" sldId="482"/>
            <ac:picMk id="6" creationId="{02BEEC16-0005-4918-AA3C-922FBC192760}"/>
          </ac:picMkLst>
        </pc:picChg>
        <pc:picChg chg="del">
          <ac:chgData name="Alexis PAIN" userId="b78671f6-15be-46ee-b9bf-27c91a325b9c" providerId="ADAL" clId="{5B946F25-BCF0-4730-BBC6-DC386E8BF556}" dt="2021-10-01T13:24:54.338" v="5389" actId="478"/>
          <ac:picMkLst>
            <pc:docMk/>
            <pc:sldMk cId="2151171373" sldId="482"/>
            <ac:picMk id="8" creationId="{2F792D82-EB44-4253-96ED-91D6E31DB0B8}"/>
          </ac:picMkLst>
        </pc:picChg>
      </pc:sldChg>
      <pc:sldChg chg="addSp delSp modSp add mod modTransition modAnim">
        <pc:chgData name="Alexis PAIN" userId="b78671f6-15be-46ee-b9bf-27c91a325b9c" providerId="ADAL" clId="{5B946F25-BCF0-4730-BBC6-DC386E8BF556}" dt="2021-10-04T07:12:12.025" v="6187"/>
        <pc:sldMkLst>
          <pc:docMk/>
          <pc:sldMk cId="4186316412" sldId="483"/>
        </pc:sldMkLst>
        <pc:spChg chg="del">
          <ac:chgData name="Alexis PAIN" userId="b78671f6-15be-46ee-b9bf-27c91a325b9c" providerId="ADAL" clId="{5B946F25-BCF0-4730-BBC6-DC386E8BF556}" dt="2021-10-01T13:43:00.083" v="5539" actId="478"/>
          <ac:spMkLst>
            <pc:docMk/>
            <pc:sldMk cId="4186316412" sldId="483"/>
            <ac:spMk id="3" creationId="{FFFC21E4-FEED-43F3-BACC-8B930360BAFE}"/>
          </ac:spMkLst>
        </pc:spChg>
        <pc:spChg chg="del">
          <ac:chgData name="Alexis PAIN" userId="b78671f6-15be-46ee-b9bf-27c91a325b9c" providerId="ADAL" clId="{5B946F25-BCF0-4730-BBC6-DC386E8BF556}" dt="2021-10-01T13:43:00.083" v="5539" actId="478"/>
          <ac:spMkLst>
            <pc:docMk/>
            <pc:sldMk cId="4186316412" sldId="483"/>
            <ac:spMk id="5" creationId="{658C159A-EE7B-4BB2-9BF7-6617C4856E45}"/>
          </ac:spMkLst>
        </pc:spChg>
        <pc:spChg chg="del">
          <ac:chgData name="Alexis PAIN" userId="b78671f6-15be-46ee-b9bf-27c91a325b9c" providerId="ADAL" clId="{5B946F25-BCF0-4730-BBC6-DC386E8BF556}" dt="2021-10-01T13:43:03.541" v="5540" actId="478"/>
          <ac:spMkLst>
            <pc:docMk/>
            <pc:sldMk cId="4186316412" sldId="483"/>
            <ac:spMk id="7" creationId="{2CF08FB8-317E-4C69-B878-75D6A435D8B8}"/>
          </ac:spMkLst>
        </pc:spChg>
        <pc:spChg chg="del">
          <ac:chgData name="Alexis PAIN" userId="b78671f6-15be-46ee-b9bf-27c91a325b9c" providerId="ADAL" clId="{5B946F25-BCF0-4730-BBC6-DC386E8BF556}" dt="2021-10-01T13:43:00.083" v="5539" actId="478"/>
          <ac:spMkLst>
            <pc:docMk/>
            <pc:sldMk cId="4186316412" sldId="483"/>
            <ac:spMk id="9" creationId="{846075AD-6CF4-4234-BBB7-4800A5B7CC2D}"/>
          </ac:spMkLst>
        </pc:spChg>
        <pc:spChg chg="del">
          <ac:chgData name="Alexis PAIN" userId="b78671f6-15be-46ee-b9bf-27c91a325b9c" providerId="ADAL" clId="{5B946F25-BCF0-4730-BBC6-DC386E8BF556}" dt="2021-10-01T13:43:00.083" v="5539" actId="478"/>
          <ac:spMkLst>
            <pc:docMk/>
            <pc:sldMk cId="4186316412" sldId="483"/>
            <ac:spMk id="10" creationId="{1DAE2A09-69F7-4FD1-A579-71610BD98F75}"/>
          </ac:spMkLst>
        </pc:spChg>
        <pc:spChg chg="del">
          <ac:chgData name="Alexis PAIN" userId="b78671f6-15be-46ee-b9bf-27c91a325b9c" providerId="ADAL" clId="{5B946F25-BCF0-4730-BBC6-DC386E8BF556}" dt="2021-10-01T13:43:00.083" v="5539" actId="478"/>
          <ac:spMkLst>
            <pc:docMk/>
            <pc:sldMk cId="4186316412" sldId="483"/>
            <ac:spMk id="11" creationId="{44C8D9EA-84BD-4991-B50D-61D9F663952D}"/>
          </ac:spMkLst>
        </pc:spChg>
        <pc:spChg chg="add mod">
          <ac:chgData name="Alexis PAIN" userId="b78671f6-15be-46ee-b9bf-27c91a325b9c" providerId="ADAL" clId="{5B946F25-BCF0-4730-BBC6-DC386E8BF556}" dt="2021-10-01T13:43:54.927" v="5552" actId="20577"/>
          <ac:spMkLst>
            <pc:docMk/>
            <pc:sldMk cId="4186316412" sldId="483"/>
            <ac:spMk id="12" creationId="{B8A604F6-D1F6-442F-8E82-59761BEE9B1B}"/>
          </ac:spMkLst>
        </pc:spChg>
        <pc:spChg chg="add mod">
          <ac:chgData name="Alexis PAIN" userId="b78671f6-15be-46ee-b9bf-27c91a325b9c" providerId="ADAL" clId="{5B946F25-BCF0-4730-BBC6-DC386E8BF556}" dt="2021-10-01T14:16:06.410" v="5826"/>
          <ac:spMkLst>
            <pc:docMk/>
            <pc:sldMk cId="4186316412" sldId="483"/>
            <ac:spMk id="15" creationId="{BAD1E4A2-3D41-4B3F-869A-09EDD6598996}"/>
          </ac:spMkLst>
        </pc:spChg>
        <pc:picChg chg="add mod modCrop">
          <ac:chgData name="Alexis PAIN" userId="b78671f6-15be-46ee-b9bf-27c91a325b9c" providerId="ADAL" clId="{5B946F25-BCF0-4730-BBC6-DC386E8BF556}" dt="2021-10-04T07:11:24.140" v="6185" actId="1076"/>
          <ac:picMkLst>
            <pc:docMk/>
            <pc:sldMk cId="4186316412" sldId="483"/>
            <ac:picMk id="3" creationId="{0EB6A34E-CC77-4D0E-86A5-23E85FF50ACD}"/>
          </ac:picMkLst>
        </pc:picChg>
        <pc:picChg chg="del">
          <ac:chgData name="Alexis PAIN" userId="b78671f6-15be-46ee-b9bf-27c91a325b9c" providerId="ADAL" clId="{5B946F25-BCF0-4730-BBC6-DC386E8BF556}" dt="2021-10-01T13:43:00.083" v="5539" actId="478"/>
          <ac:picMkLst>
            <pc:docMk/>
            <pc:sldMk cId="4186316412" sldId="483"/>
            <ac:picMk id="6" creationId="{02BEEC16-0005-4918-AA3C-922FBC192760}"/>
          </ac:picMkLst>
        </pc:picChg>
        <pc:picChg chg="add mod">
          <ac:chgData name="Alexis PAIN" userId="b78671f6-15be-46ee-b9bf-27c91a325b9c" providerId="ADAL" clId="{5B946F25-BCF0-4730-BBC6-DC386E8BF556}" dt="2021-10-01T13:43:51.700" v="5551" actId="1076"/>
          <ac:picMkLst>
            <pc:docMk/>
            <pc:sldMk cId="4186316412" sldId="483"/>
            <ac:picMk id="13" creationId="{54776DE7-2DAB-48CE-91DF-21713D508CFE}"/>
          </ac:picMkLst>
        </pc:picChg>
        <pc:picChg chg="add mod">
          <ac:chgData name="Alexis PAIN" userId="b78671f6-15be-46ee-b9bf-27c91a325b9c" providerId="ADAL" clId="{5B946F25-BCF0-4730-BBC6-DC386E8BF556}" dt="2021-10-01T13:43:49.348" v="5550" actId="1076"/>
          <ac:picMkLst>
            <pc:docMk/>
            <pc:sldMk cId="4186316412" sldId="483"/>
            <ac:picMk id="14" creationId="{AD19025F-3E1C-41A8-967B-3BD1F9E97132}"/>
          </ac:picMkLst>
        </pc:picChg>
      </pc:sldChg>
      <pc:sldChg chg="addSp delSp modSp add mod modNotesTx">
        <pc:chgData name="Alexis PAIN" userId="b78671f6-15be-46ee-b9bf-27c91a325b9c" providerId="ADAL" clId="{5B946F25-BCF0-4730-BBC6-DC386E8BF556}" dt="2021-10-01T14:16:02.970" v="5825" actId="1076"/>
        <pc:sldMkLst>
          <pc:docMk/>
          <pc:sldMk cId="4035647775" sldId="484"/>
        </pc:sldMkLst>
        <pc:spChg chg="add del mod">
          <ac:chgData name="Alexis PAIN" userId="b78671f6-15be-46ee-b9bf-27c91a325b9c" providerId="ADAL" clId="{5B946F25-BCF0-4730-BBC6-DC386E8BF556}" dt="2021-10-01T13:53:34.922" v="5749" actId="478"/>
          <ac:spMkLst>
            <pc:docMk/>
            <pc:sldMk cId="4035647775" sldId="484"/>
            <ac:spMk id="6" creationId="{1EA15E84-E55D-418A-A678-B62015BD710E}"/>
          </ac:spMkLst>
        </pc:spChg>
        <pc:spChg chg="add mod">
          <ac:chgData name="Alexis PAIN" userId="b78671f6-15be-46ee-b9bf-27c91a325b9c" providerId="ADAL" clId="{5B946F25-BCF0-4730-BBC6-DC386E8BF556}" dt="2021-10-01T14:16:02.970" v="5825" actId="1076"/>
          <ac:spMkLst>
            <pc:docMk/>
            <pc:sldMk cId="4035647775" sldId="484"/>
            <ac:spMk id="10" creationId="{2634D217-B513-4A39-9774-DC46E9123B39}"/>
          </ac:spMkLst>
        </pc:spChg>
        <pc:graphicFrameChg chg="add del">
          <ac:chgData name="Alexis PAIN" userId="b78671f6-15be-46ee-b9bf-27c91a325b9c" providerId="ADAL" clId="{5B946F25-BCF0-4730-BBC6-DC386E8BF556}" dt="2021-10-01T13:49:47.020" v="5577" actId="3680"/>
          <ac:graphicFrameMkLst>
            <pc:docMk/>
            <pc:sldMk cId="4035647775" sldId="484"/>
            <ac:graphicFrameMk id="2" creationId="{5C038E15-9367-4E8A-B131-5B0BBB437DA1}"/>
          </ac:graphicFrameMkLst>
        </pc:graphicFrameChg>
        <pc:graphicFrameChg chg="add mod modGraphic">
          <ac:chgData name="Alexis PAIN" userId="b78671f6-15be-46ee-b9bf-27c91a325b9c" providerId="ADAL" clId="{5B946F25-BCF0-4730-BBC6-DC386E8BF556}" dt="2021-10-01T13:53:54.515" v="5755" actId="1076"/>
          <ac:graphicFrameMkLst>
            <pc:docMk/>
            <pc:sldMk cId="4035647775" sldId="484"/>
            <ac:graphicFrameMk id="9" creationId="{3317BDEE-D6A1-47B0-969E-5D8434E8F277}"/>
          </ac:graphicFrameMkLst>
        </pc:graphicFrameChg>
        <pc:picChg chg="add del mod">
          <ac:chgData name="Alexis PAIN" userId="b78671f6-15be-46ee-b9bf-27c91a325b9c" providerId="ADAL" clId="{5B946F25-BCF0-4730-BBC6-DC386E8BF556}" dt="2021-10-01T13:46:57.635" v="5573" actId="478"/>
          <ac:picMkLst>
            <pc:docMk/>
            <pc:sldMk cId="4035647775" sldId="484"/>
            <ac:picMk id="5" creationId="{9E6607CC-E562-4314-BCA0-27243D6E351A}"/>
          </ac:picMkLst>
        </pc:picChg>
        <pc:picChg chg="add mod">
          <ac:chgData name="Alexis PAIN" userId="b78671f6-15be-46ee-b9bf-27c91a325b9c" providerId="ADAL" clId="{5B946F25-BCF0-4730-BBC6-DC386E8BF556}" dt="2021-10-01T13:53:49.718" v="5754" actId="1076"/>
          <ac:picMkLst>
            <pc:docMk/>
            <pc:sldMk cId="4035647775" sldId="484"/>
            <ac:picMk id="7" creationId="{293BE0C4-B5B6-4CAF-A247-23E530D22EAE}"/>
          </ac:picMkLst>
        </pc:picChg>
        <pc:picChg chg="del">
          <ac:chgData name="Alexis PAIN" userId="b78671f6-15be-46ee-b9bf-27c91a325b9c" providerId="ADAL" clId="{5B946F25-BCF0-4730-BBC6-DC386E8BF556}" dt="2021-10-01T13:45:06.889" v="5560" actId="478"/>
          <ac:picMkLst>
            <pc:docMk/>
            <pc:sldMk cId="4035647775" sldId="484"/>
            <ac:picMk id="13" creationId="{54776DE7-2DAB-48CE-91DF-21713D508CFE}"/>
          </ac:picMkLst>
        </pc:picChg>
        <pc:picChg chg="del">
          <ac:chgData name="Alexis PAIN" userId="b78671f6-15be-46ee-b9bf-27c91a325b9c" providerId="ADAL" clId="{5B946F25-BCF0-4730-BBC6-DC386E8BF556}" dt="2021-10-01T13:45:06.889" v="5560" actId="478"/>
          <ac:picMkLst>
            <pc:docMk/>
            <pc:sldMk cId="4035647775" sldId="484"/>
            <ac:picMk id="14" creationId="{AD19025F-3E1C-41A8-967B-3BD1F9E97132}"/>
          </ac:picMkLst>
        </pc:picChg>
      </pc:sldChg>
      <pc:sldChg chg="addSp delSp modSp add mod modNotesTx">
        <pc:chgData name="Alexis PAIN" userId="b78671f6-15be-46ee-b9bf-27c91a325b9c" providerId="ADAL" clId="{5B946F25-BCF0-4730-BBC6-DC386E8BF556}" dt="2021-10-01T14:23:37.820" v="5928" actId="20577"/>
        <pc:sldMkLst>
          <pc:docMk/>
          <pc:sldMk cId="2842156029" sldId="485"/>
        </pc:sldMkLst>
        <pc:spChg chg="add mod">
          <ac:chgData name="Alexis PAIN" userId="b78671f6-15be-46ee-b9bf-27c91a325b9c" providerId="ADAL" clId="{5B946F25-BCF0-4730-BBC6-DC386E8BF556}" dt="2021-10-01T14:10:32.979" v="5777" actId="21"/>
          <ac:spMkLst>
            <pc:docMk/>
            <pc:sldMk cId="2842156029" sldId="485"/>
            <ac:spMk id="5" creationId="{C61B4995-4EFA-4848-8511-6E94B58DCA33}"/>
          </ac:spMkLst>
        </pc:spChg>
        <pc:spChg chg="add mod">
          <ac:chgData name="Alexis PAIN" userId="b78671f6-15be-46ee-b9bf-27c91a325b9c" providerId="ADAL" clId="{5B946F25-BCF0-4730-BBC6-DC386E8BF556}" dt="2021-10-01T14:08:43.498" v="5764" actId="20577"/>
          <ac:spMkLst>
            <pc:docMk/>
            <pc:sldMk cId="2842156029" sldId="485"/>
            <ac:spMk id="6" creationId="{EDB783B3-E08F-484D-AC4A-B9E110E5F375}"/>
          </ac:spMkLst>
        </pc:spChg>
        <pc:spChg chg="add mod">
          <ac:chgData name="Alexis PAIN" userId="b78671f6-15be-46ee-b9bf-27c91a325b9c" providerId="ADAL" clId="{5B946F25-BCF0-4730-BBC6-DC386E8BF556}" dt="2021-10-01T14:18:25.046" v="5833" actId="207"/>
          <ac:spMkLst>
            <pc:docMk/>
            <pc:sldMk cId="2842156029" sldId="485"/>
            <ac:spMk id="10" creationId="{BC5DA6FE-0597-4902-B9E1-445FE42F1D8A}"/>
          </ac:spMkLst>
        </pc:spChg>
        <pc:spChg chg="add mod">
          <ac:chgData name="Alexis PAIN" userId="b78671f6-15be-46ee-b9bf-27c91a325b9c" providerId="ADAL" clId="{5B946F25-BCF0-4730-BBC6-DC386E8BF556}" dt="2021-10-01T14:12:18.703" v="5802" actId="14100"/>
          <ac:spMkLst>
            <pc:docMk/>
            <pc:sldMk cId="2842156029" sldId="485"/>
            <ac:spMk id="11" creationId="{86201478-B48D-47AE-886E-A70F6DBEF4DB}"/>
          </ac:spMkLst>
        </pc:spChg>
        <pc:spChg chg="del">
          <ac:chgData name="Alexis PAIN" userId="b78671f6-15be-46ee-b9bf-27c91a325b9c" providerId="ADAL" clId="{5B946F25-BCF0-4730-BBC6-DC386E8BF556}" dt="2021-10-01T14:07:52.748" v="5758" actId="478"/>
          <ac:spMkLst>
            <pc:docMk/>
            <pc:sldMk cId="2842156029" sldId="485"/>
            <ac:spMk id="12" creationId="{B8A604F6-D1F6-442F-8E82-59761BEE9B1B}"/>
          </ac:spMkLst>
        </pc:spChg>
        <pc:spChg chg="add mod">
          <ac:chgData name="Alexis PAIN" userId="b78671f6-15be-46ee-b9bf-27c91a325b9c" providerId="ADAL" clId="{5B946F25-BCF0-4730-BBC6-DC386E8BF556}" dt="2021-10-01T14:19:03.651" v="5839" actId="20577"/>
          <ac:spMkLst>
            <pc:docMk/>
            <pc:sldMk cId="2842156029" sldId="485"/>
            <ac:spMk id="13" creationId="{DF0526B2-F6B5-41BC-9525-D4BDDCE7B418}"/>
          </ac:spMkLst>
        </pc:spChg>
        <pc:spChg chg="add mod">
          <ac:chgData name="Alexis PAIN" userId="b78671f6-15be-46ee-b9bf-27c91a325b9c" providerId="ADAL" clId="{5B946F25-BCF0-4730-BBC6-DC386E8BF556}" dt="2021-10-01T14:12:04.475" v="5799" actId="1076"/>
          <ac:spMkLst>
            <pc:docMk/>
            <pc:sldMk cId="2842156029" sldId="485"/>
            <ac:spMk id="14" creationId="{D07898DA-39E2-4C50-9DFF-CDD8BD1B67AD}"/>
          </ac:spMkLst>
        </pc:spChg>
        <pc:spChg chg="add mod">
          <ac:chgData name="Alexis PAIN" userId="b78671f6-15be-46ee-b9bf-27c91a325b9c" providerId="ADAL" clId="{5B946F25-BCF0-4730-BBC6-DC386E8BF556}" dt="2021-10-01T14:12:29.943" v="5804" actId="1076"/>
          <ac:spMkLst>
            <pc:docMk/>
            <pc:sldMk cId="2842156029" sldId="485"/>
            <ac:spMk id="15" creationId="{18F2D2E9-76DA-4249-94E9-4510BE80904B}"/>
          </ac:spMkLst>
        </pc:spChg>
        <pc:spChg chg="add mod">
          <ac:chgData name="Alexis PAIN" userId="b78671f6-15be-46ee-b9bf-27c91a325b9c" providerId="ADAL" clId="{5B946F25-BCF0-4730-BBC6-DC386E8BF556}" dt="2021-10-01T14:15:44.893" v="5817"/>
          <ac:spMkLst>
            <pc:docMk/>
            <pc:sldMk cId="2842156029" sldId="485"/>
            <ac:spMk id="16" creationId="{EA74D4BD-A154-47F6-BF0C-622DE0645492}"/>
          </ac:spMkLst>
        </pc:spChg>
        <pc:graphicFrameChg chg="del">
          <ac:chgData name="Alexis PAIN" userId="b78671f6-15be-46ee-b9bf-27c91a325b9c" providerId="ADAL" clId="{5B946F25-BCF0-4730-BBC6-DC386E8BF556}" dt="2021-10-01T14:07:52.748" v="5758" actId="478"/>
          <ac:graphicFrameMkLst>
            <pc:docMk/>
            <pc:sldMk cId="2842156029" sldId="485"/>
            <ac:graphicFrameMk id="9" creationId="{3317BDEE-D6A1-47B0-969E-5D8434E8F277}"/>
          </ac:graphicFrameMkLst>
        </pc:graphicFrameChg>
        <pc:picChg chg="del">
          <ac:chgData name="Alexis PAIN" userId="b78671f6-15be-46ee-b9bf-27c91a325b9c" providerId="ADAL" clId="{5B946F25-BCF0-4730-BBC6-DC386E8BF556}" dt="2021-10-01T14:07:52.748" v="5758" actId="478"/>
          <ac:picMkLst>
            <pc:docMk/>
            <pc:sldMk cId="2842156029" sldId="485"/>
            <ac:picMk id="7" creationId="{293BE0C4-B5B6-4CAF-A247-23E530D22EAE}"/>
          </ac:picMkLst>
        </pc:picChg>
        <pc:picChg chg="add mod">
          <ac:chgData name="Alexis PAIN" userId="b78671f6-15be-46ee-b9bf-27c91a325b9c" providerId="ADAL" clId="{5B946F25-BCF0-4730-BBC6-DC386E8BF556}" dt="2021-10-01T14:11:16.509" v="5785" actId="1076"/>
          <ac:picMkLst>
            <pc:docMk/>
            <pc:sldMk cId="2842156029" sldId="485"/>
            <ac:picMk id="8" creationId="{EC1D87E2-C519-47A7-8865-FA02DF22315F}"/>
          </ac:picMkLst>
        </pc:picChg>
      </pc:sldChg>
      <pc:sldChg chg="addSp delSp modSp add mod modAnim">
        <pc:chgData name="Alexis PAIN" userId="b78671f6-15be-46ee-b9bf-27c91a325b9c" providerId="ADAL" clId="{5B946F25-BCF0-4730-BBC6-DC386E8BF556}" dt="2021-10-04T07:14:02.447" v="6200"/>
        <pc:sldMkLst>
          <pc:docMk/>
          <pc:sldMk cId="1794245620" sldId="486"/>
        </pc:sldMkLst>
        <pc:spChg chg="del">
          <ac:chgData name="Alexis PAIN" userId="b78671f6-15be-46ee-b9bf-27c91a325b9c" providerId="ADAL" clId="{5B946F25-BCF0-4730-BBC6-DC386E8BF556}" dt="2021-10-01T14:14:33.792" v="5808" actId="478"/>
          <ac:spMkLst>
            <pc:docMk/>
            <pc:sldMk cId="1794245620" sldId="486"/>
            <ac:spMk id="6" creationId="{EDB783B3-E08F-484D-AC4A-B9E110E5F375}"/>
          </ac:spMkLst>
        </pc:spChg>
        <pc:spChg chg="del">
          <ac:chgData name="Alexis PAIN" userId="b78671f6-15be-46ee-b9bf-27c91a325b9c" providerId="ADAL" clId="{5B946F25-BCF0-4730-BBC6-DC386E8BF556}" dt="2021-10-01T14:14:23.999" v="5806" actId="478"/>
          <ac:spMkLst>
            <pc:docMk/>
            <pc:sldMk cId="1794245620" sldId="486"/>
            <ac:spMk id="10" creationId="{BC5DA6FE-0597-4902-B9E1-445FE42F1D8A}"/>
          </ac:spMkLst>
        </pc:spChg>
        <pc:spChg chg="del">
          <ac:chgData name="Alexis PAIN" userId="b78671f6-15be-46ee-b9bf-27c91a325b9c" providerId="ADAL" clId="{5B946F25-BCF0-4730-BBC6-DC386E8BF556}" dt="2021-10-01T14:14:29.786" v="5807" actId="478"/>
          <ac:spMkLst>
            <pc:docMk/>
            <pc:sldMk cId="1794245620" sldId="486"/>
            <ac:spMk id="11" creationId="{86201478-B48D-47AE-886E-A70F6DBEF4DB}"/>
          </ac:spMkLst>
        </pc:spChg>
        <pc:spChg chg="add mod">
          <ac:chgData name="Alexis PAIN" userId="b78671f6-15be-46ee-b9bf-27c91a325b9c" providerId="ADAL" clId="{5B946F25-BCF0-4730-BBC6-DC386E8BF556}" dt="2021-10-02T22:20:18.337" v="5953" actId="20577"/>
          <ac:spMkLst>
            <pc:docMk/>
            <pc:sldMk cId="1794245620" sldId="486"/>
            <ac:spMk id="12" creationId="{B24943CB-A122-4E5B-8BB8-103248D93AE9}"/>
          </ac:spMkLst>
        </pc:spChg>
        <pc:spChg chg="del">
          <ac:chgData name="Alexis PAIN" userId="b78671f6-15be-46ee-b9bf-27c91a325b9c" providerId="ADAL" clId="{5B946F25-BCF0-4730-BBC6-DC386E8BF556}" dt="2021-10-01T14:14:29.786" v="5807" actId="478"/>
          <ac:spMkLst>
            <pc:docMk/>
            <pc:sldMk cId="1794245620" sldId="486"/>
            <ac:spMk id="13" creationId="{DF0526B2-F6B5-41BC-9525-D4BDDCE7B418}"/>
          </ac:spMkLst>
        </pc:spChg>
        <pc:spChg chg="del">
          <ac:chgData name="Alexis PAIN" userId="b78671f6-15be-46ee-b9bf-27c91a325b9c" providerId="ADAL" clId="{5B946F25-BCF0-4730-BBC6-DC386E8BF556}" dt="2021-10-01T14:14:29.786" v="5807" actId="478"/>
          <ac:spMkLst>
            <pc:docMk/>
            <pc:sldMk cId="1794245620" sldId="486"/>
            <ac:spMk id="14" creationId="{D07898DA-39E2-4C50-9DFF-CDD8BD1B67AD}"/>
          </ac:spMkLst>
        </pc:spChg>
        <pc:spChg chg="del">
          <ac:chgData name="Alexis PAIN" userId="b78671f6-15be-46ee-b9bf-27c91a325b9c" providerId="ADAL" clId="{5B946F25-BCF0-4730-BBC6-DC386E8BF556}" dt="2021-10-01T14:14:29.786" v="5807" actId="478"/>
          <ac:spMkLst>
            <pc:docMk/>
            <pc:sldMk cId="1794245620" sldId="486"/>
            <ac:spMk id="15" creationId="{18F2D2E9-76DA-4249-94E9-4510BE80904B}"/>
          </ac:spMkLst>
        </pc:spChg>
        <pc:spChg chg="add mod">
          <ac:chgData name="Alexis PAIN" userId="b78671f6-15be-46ee-b9bf-27c91a325b9c" providerId="ADAL" clId="{5B946F25-BCF0-4730-BBC6-DC386E8BF556}" dt="2021-10-01T14:15:09.565" v="5815" actId="1076"/>
          <ac:spMkLst>
            <pc:docMk/>
            <pc:sldMk cId="1794245620" sldId="486"/>
            <ac:spMk id="17" creationId="{2A93989B-9FF6-4757-A4D6-15BF4C7FA5B6}"/>
          </ac:spMkLst>
        </pc:spChg>
        <pc:picChg chg="add mod modCrop">
          <ac:chgData name="Alexis PAIN" userId="b78671f6-15be-46ee-b9bf-27c91a325b9c" providerId="ADAL" clId="{5B946F25-BCF0-4730-BBC6-DC386E8BF556}" dt="2021-10-04T07:13:57.270" v="6199" actId="1076"/>
          <ac:picMkLst>
            <pc:docMk/>
            <pc:sldMk cId="1794245620" sldId="486"/>
            <ac:picMk id="3" creationId="{F876099B-0408-4835-A142-19A6F4B22B60}"/>
          </ac:picMkLst>
        </pc:picChg>
        <pc:picChg chg="add mod">
          <ac:chgData name="Alexis PAIN" userId="b78671f6-15be-46ee-b9bf-27c91a325b9c" providerId="ADAL" clId="{5B946F25-BCF0-4730-BBC6-DC386E8BF556}" dt="2021-10-01T14:15:25.435" v="5816" actId="1076"/>
          <ac:picMkLst>
            <pc:docMk/>
            <pc:sldMk cId="1794245620" sldId="486"/>
            <ac:picMk id="16" creationId="{E623ED41-9192-4972-88DC-7367D527AB91}"/>
          </ac:picMkLst>
        </pc:picChg>
      </pc:sldChg>
      <pc:sldChg chg="addSp delSp modSp add mod modNotesTx">
        <pc:chgData name="Alexis PAIN" userId="b78671f6-15be-46ee-b9bf-27c91a325b9c" providerId="ADAL" clId="{5B946F25-BCF0-4730-BBC6-DC386E8BF556}" dt="2021-10-04T13:59:04.569" v="6219" actId="113"/>
        <pc:sldMkLst>
          <pc:docMk/>
          <pc:sldMk cId="489198969" sldId="487"/>
        </pc:sldMkLst>
        <pc:spChg chg="add del mod">
          <ac:chgData name="Alexis PAIN" userId="b78671f6-15be-46ee-b9bf-27c91a325b9c" providerId="ADAL" clId="{5B946F25-BCF0-4730-BBC6-DC386E8BF556}" dt="2021-10-02T22:19:34.734" v="5947" actId="478"/>
          <ac:spMkLst>
            <pc:docMk/>
            <pc:sldMk cId="489198969" sldId="487"/>
            <ac:spMk id="7" creationId="{E7355188-C5F8-455E-B1F1-ECA54C76D94C}"/>
          </ac:spMkLst>
        </pc:spChg>
        <pc:spChg chg="mod">
          <ac:chgData name="Alexis PAIN" userId="b78671f6-15be-46ee-b9bf-27c91a325b9c" providerId="ADAL" clId="{5B946F25-BCF0-4730-BBC6-DC386E8BF556}" dt="2021-10-02T22:20:15.013" v="5952" actId="20577"/>
          <ac:spMkLst>
            <pc:docMk/>
            <pc:sldMk cId="489198969" sldId="487"/>
            <ac:spMk id="12" creationId="{B24943CB-A122-4E5B-8BB8-103248D93AE9}"/>
          </ac:spMkLst>
        </pc:spChg>
        <pc:graphicFrameChg chg="add mod modGraphic">
          <ac:chgData name="Alexis PAIN" userId="b78671f6-15be-46ee-b9bf-27c91a325b9c" providerId="ADAL" clId="{5B946F25-BCF0-4730-BBC6-DC386E8BF556}" dt="2021-10-04T13:59:04.569" v="6219" actId="113"/>
          <ac:graphicFrameMkLst>
            <pc:docMk/>
            <pc:sldMk cId="489198969" sldId="487"/>
            <ac:graphicFrameMk id="6" creationId="{D228F73B-7F1B-47D1-80E8-49121E68919D}"/>
          </ac:graphicFrameMkLst>
        </pc:graphicFrameChg>
        <pc:picChg chg="del">
          <ac:chgData name="Alexis PAIN" userId="b78671f6-15be-46ee-b9bf-27c91a325b9c" providerId="ADAL" clId="{5B946F25-BCF0-4730-BBC6-DC386E8BF556}" dt="2021-10-02T22:16:27.272" v="5930" actId="478"/>
          <ac:picMkLst>
            <pc:docMk/>
            <pc:sldMk cId="489198969" sldId="487"/>
            <ac:picMk id="16" creationId="{E623ED41-9192-4972-88DC-7367D527AB91}"/>
          </ac:picMkLst>
        </pc:picChg>
      </pc:sldChg>
      <pc:sldChg chg="addSp delSp modSp add mod modAnim modNotesTx">
        <pc:chgData name="Alexis PAIN" userId="b78671f6-15be-46ee-b9bf-27c91a325b9c" providerId="ADAL" clId="{5B946F25-BCF0-4730-BBC6-DC386E8BF556}" dt="2021-10-04T07:15:33.850" v="6214"/>
        <pc:sldMkLst>
          <pc:docMk/>
          <pc:sldMk cId="1785664793" sldId="488"/>
        </pc:sldMkLst>
        <pc:spChg chg="add mod">
          <ac:chgData name="Alexis PAIN" userId="b78671f6-15be-46ee-b9bf-27c91a325b9c" providerId="ADAL" clId="{5B946F25-BCF0-4730-BBC6-DC386E8BF556}" dt="2021-10-02T22:20:43.804" v="5955"/>
          <ac:spMkLst>
            <pc:docMk/>
            <pc:sldMk cId="1785664793" sldId="488"/>
            <ac:spMk id="7" creationId="{FC7034FD-E775-4166-B15A-338B85E092AC}"/>
          </ac:spMkLst>
        </pc:spChg>
        <pc:spChg chg="add mod">
          <ac:chgData name="Alexis PAIN" userId="b78671f6-15be-46ee-b9bf-27c91a325b9c" providerId="ADAL" clId="{5B946F25-BCF0-4730-BBC6-DC386E8BF556}" dt="2021-10-02T22:21:35.051" v="5969" actId="1076"/>
          <ac:spMkLst>
            <pc:docMk/>
            <pc:sldMk cId="1785664793" sldId="488"/>
            <ac:spMk id="11" creationId="{713361C6-6489-4F16-BE68-D638443CDBC3}"/>
          </ac:spMkLst>
        </pc:spChg>
        <pc:spChg chg="del">
          <ac:chgData name="Alexis PAIN" userId="b78671f6-15be-46ee-b9bf-27c91a325b9c" providerId="ADAL" clId="{5B946F25-BCF0-4730-BBC6-DC386E8BF556}" dt="2021-10-02T22:20:11.623" v="5951" actId="478"/>
          <ac:spMkLst>
            <pc:docMk/>
            <pc:sldMk cId="1785664793" sldId="488"/>
            <ac:spMk id="12" creationId="{B24943CB-A122-4E5B-8BB8-103248D93AE9}"/>
          </ac:spMkLst>
        </pc:spChg>
        <pc:spChg chg="del">
          <ac:chgData name="Alexis PAIN" userId="b78671f6-15be-46ee-b9bf-27c91a325b9c" providerId="ADAL" clId="{5B946F25-BCF0-4730-BBC6-DC386E8BF556}" dt="2021-10-02T22:20:33.514" v="5954" actId="478"/>
          <ac:spMkLst>
            <pc:docMk/>
            <pc:sldMk cId="1785664793" sldId="488"/>
            <ac:spMk id="17" creationId="{2A93989B-9FF6-4757-A4D6-15BF4C7FA5B6}"/>
          </ac:spMkLst>
        </pc:spChg>
        <pc:graphicFrameChg chg="del">
          <ac:chgData name="Alexis PAIN" userId="b78671f6-15be-46ee-b9bf-27c91a325b9c" providerId="ADAL" clId="{5B946F25-BCF0-4730-BBC6-DC386E8BF556}" dt="2021-10-02T22:20:11.623" v="5951" actId="478"/>
          <ac:graphicFrameMkLst>
            <pc:docMk/>
            <pc:sldMk cId="1785664793" sldId="488"/>
            <ac:graphicFrameMk id="6" creationId="{D228F73B-7F1B-47D1-80E8-49121E68919D}"/>
          </ac:graphicFrameMkLst>
        </pc:graphicFrameChg>
        <pc:picChg chg="add mod modCrop">
          <ac:chgData name="Alexis PAIN" userId="b78671f6-15be-46ee-b9bf-27c91a325b9c" providerId="ADAL" clId="{5B946F25-BCF0-4730-BBC6-DC386E8BF556}" dt="2021-10-04T07:15:28.973" v="6213" actId="1076"/>
          <ac:picMkLst>
            <pc:docMk/>
            <pc:sldMk cId="1785664793" sldId="488"/>
            <ac:picMk id="3" creationId="{EA4676CD-53D9-4B33-81C6-6EED3CDD2BD1}"/>
          </ac:picMkLst>
        </pc:picChg>
        <pc:picChg chg="del">
          <ac:chgData name="Alexis PAIN" userId="b78671f6-15be-46ee-b9bf-27c91a325b9c" providerId="ADAL" clId="{5B946F25-BCF0-4730-BBC6-DC386E8BF556}" dt="2021-10-02T22:20:11.623" v="5951" actId="478"/>
          <ac:picMkLst>
            <pc:docMk/>
            <pc:sldMk cId="1785664793" sldId="488"/>
            <ac:picMk id="8" creationId="{EC1D87E2-C519-47A7-8865-FA02DF22315F}"/>
          </ac:picMkLst>
        </pc:picChg>
        <pc:picChg chg="add mod">
          <ac:chgData name="Alexis PAIN" userId="b78671f6-15be-46ee-b9bf-27c91a325b9c" providerId="ADAL" clId="{5B946F25-BCF0-4730-BBC6-DC386E8BF556}" dt="2021-10-02T22:21:23.061" v="5967" actId="1076"/>
          <ac:picMkLst>
            <pc:docMk/>
            <pc:sldMk cId="1785664793" sldId="488"/>
            <ac:picMk id="9" creationId="{1524B4F4-1CED-4247-9CA2-5F0188428737}"/>
          </ac:picMkLst>
        </pc:picChg>
        <pc:picChg chg="add mod">
          <ac:chgData name="Alexis PAIN" userId="b78671f6-15be-46ee-b9bf-27c91a325b9c" providerId="ADAL" clId="{5B946F25-BCF0-4730-BBC6-DC386E8BF556}" dt="2021-10-02T22:21:27.150" v="5968" actId="1076"/>
          <ac:picMkLst>
            <pc:docMk/>
            <pc:sldMk cId="1785664793" sldId="488"/>
            <ac:picMk id="10" creationId="{7E61CE90-2F7F-4CDC-8E08-E2B8E55FF9FA}"/>
          </ac:picMkLst>
        </pc:picChg>
      </pc:sldChg>
      <pc:sldChg chg="addSp delSp modSp add mod modNotesTx">
        <pc:chgData name="Alexis PAIN" userId="b78671f6-15be-46ee-b9bf-27c91a325b9c" providerId="ADAL" clId="{5B946F25-BCF0-4730-BBC6-DC386E8BF556}" dt="2021-10-02T22:24:40.853" v="6006"/>
        <pc:sldMkLst>
          <pc:docMk/>
          <pc:sldMk cId="4087387552" sldId="489"/>
        </pc:sldMkLst>
        <pc:spChg chg="add del mod">
          <ac:chgData name="Alexis PAIN" userId="b78671f6-15be-46ee-b9bf-27c91a325b9c" providerId="ADAL" clId="{5B946F25-BCF0-4730-BBC6-DC386E8BF556}" dt="2021-10-02T22:23:34.873" v="5995" actId="478"/>
          <ac:spMkLst>
            <pc:docMk/>
            <pc:sldMk cId="4087387552" sldId="489"/>
            <ac:spMk id="7" creationId="{2B3ADF52-3493-4E4B-B7E1-D1F85A16B7D7}"/>
          </ac:spMkLst>
        </pc:spChg>
        <pc:spChg chg="add mod">
          <ac:chgData name="Alexis PAIN" userId="b78671f6-15be-46ee-b9bf-27c91a325b9c" providerId="ADAL" clId="{5B946F25-BCF0-4730-BBC6-DC386E8BF556}" dt="2021-10-02T22:24:40.853" v="6006"/>
          <ac:spMkLst>
            <pc:docMk/>
            <pc:sldMk cId="4087387552" sldId="489"/>
            <ac:spMk id="10" creationId="{A5612C24-9BBE-443B-878F-7D7955B2C531}"/>
          </ac:spMkLst>
        </pc:spChg>
        <pc:spChg chg="del">
          <ac:chgData name="Alexis PAIN" userId="b78671f6-15be-46ee-b9bf-27c91a325b9c" providerId="ADAL" clId="{5B946F25-BCF0-4730-BBC6-DC386E8BF556}" dt="2021-10-02T22:24:35.330" v="6005" actId="478"/>
          <ac:spMkLst>
            <pc:docMk/>
            <pc:sldMk cId="4087387552" sldId="489"/>
            <ac:spMk id="17" creationId="{2A93989B-9FF6-4757-A4D6-15BF4C7FA5B6}"/>
          </ac:spMkLst>
        </pc:spChg>
        <pc:graphicFrameChg chg="mod modGraphic">
          <ac:chgData name="Alexis PAIN" userId="b78671f6-15be-46ee-b9bf-27c91a325b9c" providerId="ADAL" clId="{5B946F25-BCF0-4730-BBC6-DC386E8BF556}" dt="2021-10-02T22:23:50.372" v="5997" actId="1076"/>
          <ac:graphicFrameMkLst>
            <pc:docMk/>
            <pc:sldMk cId="4087387552" sldId="489"/>
            <ac:graphicFrameMk id="6" creationId="{D228F73B-7F1B-47D1-80E8-49121E68919D}"/>
          </ac:graphicFrameMkLst>
        </pc:graphicFrameChg>
        <pc:picChg chg="del">
          <ac:chgData name="Alexis PAIN" userId="b78671f6-15be-46ee-b9bf-27c91a325b9c" providerId="ADAL" clId="{5B946F25-BCF0-4730-BBC6-DC386E8BF556}" dt="2021-10-02T22:24:35.330" v="6005" actId="478"/>
          <ac:picMkLst>
            <pc:docMk/>
            <pc:sldMk cId="4087387552" sldId="489"/>
            <ac:picMk id="8" creationId="{EC1D87E2-C519-47A7-8865-FA02DF22315F}"/>
          </ac:picMkLst>
        </pc:picChg>
        <pc:picChg chg="add mod">
          <ac:chgData name="Alexis PAIN" userId="b78671f6-15be-46ee-b9bf-27c91a325b9c" providerId="ADAL" clId="{5B946F25-BCF0-4730-BBC6-DC386E8BF556}" dt="2021-10-02T22:24:40.853" v="6006"/>
          <ac:picMkLst>
            <pc:docMk/>
            <pc:sldMk cId="4087387552" sldId="489"/>
            <ac:picMk id="9" creationId="{032F7B61-8C1F-4549-88FF-26DA015C39EA}"/>
          </ac:picMkLst>
        </pc:picChg>
      </pc:sldChg>
      <pc:sldChg chg="addSp delSp modSp add mod modNotesTx">
        <pc:chgData name="Alexis PAIN" userId="b78671f6-15be-46ee-b9bf-27c91a325b9c" providerId="ADAL" clId="{5B946F25-BCF0-4730-BBC6-DC386E8BF556}" dt="2021-10-02T22:29:52.521" v="6172" actId="1076"/>
        <pc:sldMkLst>
          <pc:docMk/>
          <pc:sldMk cId="780685831" sldId="490"/>
        </pc:sldMkLst>
        <pc:spChg chg="add del mod">
          <ac:chgData name="Alexis PAIN" userId="b78671f6-15be-46ee-b9bf-27c91a325b9c" providerId="ADAL" clId="{5B946F25-BCF0-4730-BBC6-DC386E8BF556}" dt="2021-10-02T22:29:46.981" v="6171" actId="478"/>
          <ac:spMkLst>
            <pc:docMk/>
            <pc:sldMk cId="780685831" sldId="490"/>
            <ac:spMk id="7" creationId="{963E9A40-0338-4EF0-9555-C756F5C9A14B}"/>
          </ac:spMkLst>
        </pc:spChg>
        <pc:spChg chg="add mod">
          <ac:chgData name="Alexis PAIN" userId="b78671f6-15be-46ee-b9bf-27c91a325b9c" providerId="ADAL" clId="{5B946F25-BCF0-4730-BBC6-DC386E8BF556}" dt="2021-10-02T22:24:48.770" v="6007"/>
          <ac:spMkLst>
            <pc:docMk/>
            <pc:sldMk cId="780685831" sldId="490"/>
            <ac:spMk id="9" creationId="{02C544C8-C14B-481A-A936-F010CE86D849}"/>
          </ac:spMkLst>
        </pc:spChg>
        <pc:spChg chg="del">
          <ac:chgData name="Alexis PAIN" userId="b78671f6-15be-46ee-b9bf-27c91a325b9c" providerId="ADAL" clId="{5B946F25-BCF0-4730-BBC6-DC386E8BF556}" dt="2021-10-02T22:24:30.496" v="6004" actId="478"/>
          <ac:spMkLst>
            <pc:docMk/>
            <pc:sldMk cId="780685831" sldId="490"/>
            <ac:spMk id="12" creationId="{B24943CB-A122-4E5B-8BB8-103248D93AE9}"/>
          </ac:spMkLst>
        </pc:spChg>
        <pc:spChg chg="del">
          <ac:chgData name="Alexis PAIN" userId="b78671f6-15be-46ee-b9bf-27c91a325b9c" providerId="ADAL" clId="{5B946F25-BCF0-4730-BBC6-DC386E8BF556}" dt="2021-10-02T22:24:26.162" v="6003" actId="478"/>
          <ac:spMkLst>
            <pc:docMk/>
            <pc:sldMk cId="780685831" sldId="490"/>
            <ac:spMk id="17" creationId="{2A93989B-9FF6-4757-A4D6-15BF4C7FA5B6}"/>
          </ac:spMkLst>
        </pc:spChg>
        <pc:graphicFrameChg chg="del">
          <ac:chgData name="Alexis PAIN" userId="b78671f6-15be-46ee-b9bf-27c91a325b9c" providerId="ADAL" clId="{5B946F25-BCF0-4730-BBC6-DC386E8BF556}" dt="2021-10-02T22:24:26.162" v="6003" actId="478"/>
          <ac:graphicFrameMkLst>
            <pc:docMk/>
            <pc:sldMk cId="780685831" sldId="490"/>
            <ac:graphicFrameMk id="6" creationId="{D228F73B-7F1B-47D1-80E8-49121E68919D}"/>
          </ac:graphicFrameMkLst>
        </pc:graphicFrameChg>
        <pc:graphicFrameChg chg="add mod modGraphic">
          <ac:chgData name="Alexis PAIN" userId="b78671f6-15be-46ee-b9bf-27c91a325b9c" providerId="ADAL" clId="{5B946F25-BCF0-4730-BBC6-DC386E8BF556}" dt="2021-10-02T22:29:52.521" v="6172" actId="1076"/>
          <ac:graphicFrameMkLst>
            <pc:docMk/>
            <pc:sldMk cId="780685831" sldId="490"/>
            <ac:graphicFrameMk id="11" creationId="{B52696A9-2325-4130-98C5-4AF136A50449}"/>
          </ac:graphicFrameMkLst>
        </pc:graphicFrameChg>
        <pc:picChg chg="del">
          <ac:chgData name="Alexis PAIN" userId="b78671f6-15be-46ee-b9bf-27c91a325b9c" providerId="ADAL" clId="{5B946F25-BCF0-4730-BBC6-DC386E8BF556}" dt="2021-10-02T22:24:26.162" v="6003" actId="478"/>
          <ac:picMkLst>
            <pc:docMk/>
            <pc:sldMk cId="780685831" sldId="490"/>
            <ac:picMk id="8" creationId="{EC1D87E2-C519-47A7-8865-FA02DF22315F}"/>
          </ac:picMkLst>
        </pc:picChg>
        <pc:picChg chg="add mod">
          <ac:chgData name="Alexis PAIN" userId="b78671f6-15be-46ee-b9bf-27c91a325b9c" providerId="ADAL" clId="{5B946F25-BCF0-4730-BBC6-DC386E8BF556}" dt="2021-10-02T22:24:48.770" v="6007"/>
          <ac:picMkLst>
            <pc:docMk/>
            <pc:sldMk cId="780685831" sldId="490"/>
            <ac:picMk id="10" creationId="{8F464297-4834-4F69-99A2-75F86171EE8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2496561011814097"/>
          <c:y val="0.28165203971450697"/>
          <c:w val="0.69650469858926778"/>
          <c:h val="0.67467453126864396"/>
        </c:manualLayout>
      </c:layout>
      <c:barChart>
        <c:barDir val="col"/>
        <c:grouping val="stacked"/>
        <c:varyColors val="0"/>
        <c:ser>
          <c:idx val="0"/>
          <c:order val="0"/>
          <c:tx>
            <c:strRef>
              <c:f>Sheet1!$B$1</c:f>
              <c:strCache>
                <c:ptCount val="1"/>
                <c:pt idx="0">
                  <c:v>Contact tracing</c:v>
                </c:pt>
              </c:strCache>
            </c:strRef>
          </c:tx>
          <c:spPr>
            <a:noFill/>
            <a:ln>
              <a:noFill/>
            </a:ln>
            <a:effectLst/>
          </c:spPr>
          <c:invertIfNegative val="0"/>
          <c:cat>
            <c:strRef>
              <c:f>Sheet1!$A$2:$A$7</c:f>
              <c:strCache>
                <c:ptCount val="6"/>
                <c:pt idx="0">
                  <c:v>UK</c:v>
                </c:pt>
                <c:pt idx="1">
                  <c:v>Germany</c:v>
                </c:pt>
                <c:pt idx="2">
                  <c:v>France</c:v>
                </c:pt>
                <c:pt idx="3">
                  <c:v>Switzerland</c:v>
                </c:pt>
                <c:pt idx="4">
                  <c:v>Belgium</c:v>
                </c:pt>
                <c:pt idx="5">
                  <c:v>Luxembourg</c:v>
                </c:pt>
              </c:strCache>
            </c:strRef>
          </c:cat>
          <c:val>
            <c:numRef>
              <c:f>Sheet1!$B$2:$B$7</c:f>
              <c:numCache>
                <c:formatCode>General</c:formatCode>
                <c:ptCount val="6"/>
                <c:pt idx="0">
                  <c:v>41</c:v>
                </c:pt>
                <c:pt idx="1">
                  <c:v>20</c:v>
                </c:pt>
                <c:pt idx="2">
                  <c:v>9</c:v>
                </c:pt>
                <c:pt idx="3">
                  <c:v>3.24</c:v>
                </c:pt>
                <c:pt idx="4">
                  <c:v>1</c:v>
                </c:pt>
                <c:pt idx="5">
                  <c:v>0</c:v>
                </c:pt>
              </c:numCache>
            </c:numRef>
          </c:val>
          <c:extLst>
            <c:ext xmlns:c16="http://schemas.microsoft.com/office/drawing/2014/chart" uri="{C3380CC4-5D6E-409C-BE32-E72D297353CC}">
              <c16:uniqueId val="{00000000-0AFC-E74B-BBC5-A5A3A6353ECE}"/>
            </c:ext>
          </c:extLst>
        </c:ser>
        <c:ser>
          <c:idx val="1"/>
          <c:order val="1"/>
          <c:tx>
            <c:strRef>
              <c:f>Sheet1!$C$1</c:f>
              <c:strCache>
                <c:ptCount val="1"/>
                <c:pt idx="0">
                  <c:v>QR Codes</c:v>
                </c:pt>
              </c:strCache>
            </c:strRef>
          </c:tx>
          <c:spPr>
            <a:solidFill>
              <a:schemeClr val="accent1"/>
            </a:solidFill>
            <a:ln>
              <a:noFill/>
            </a:ln>
            <a:effectLst/>
          </c:spPr>
          <c:invertIfNegative val="0"/>
          <c:cat>
            <c:strRef>
              <c:f>Sheet1!$A$2:$A$7</c:f>
              <c:strCache>
                <c:ptCount val="6"/>
                <c:pt idx="0">
                  <c:v>UK</c:v>
                </c:pt>
                <c:pt idx="1">
                  <c:v>Germany</c:v>
                </c:pt>
                <c:pt idx="2">
                  <c:v>France</c:v>
                </c:pt>
                <c:pt idx="3">
                  <c:v>Switzerland</c:v>
                </c:pt>
                <c:pt idx="4">
                  <c:v>Belgium</c:v>
                </c:pt>
                <c:pt idx="5">
                  <c:v>Luxembourg</c:v>
                </c:pt>
              </c:strCache>
            </c:strRef>
          </c:cat>
          <c:val>
            <c:numRef>
              <c:f>Sheet1!$C$2:$C$7</c:f>
              <c:numCache>
                <c:formatCode>General</c:formatCode>
                <c:ptCount val="6"/>
                <c:pt idx="0">
                  <c:v>0</c:v>
                </c:pt>
                <c:pt idx="1">
                  <c:v>0</c:v>
                </c:pt>
                <c:pt idx="2">
                  <c:v>0</c:v>
                </c:pt>
                <c:pt idx="4">
                  <c:v>0</c:v>
                </c:pt>
                <c:pt idx="5">
                  <c:v>0</c:v>
                </c:pt>
              </c:numCache>
            </c:numRef>
          </c:val>
          <c:extLst>
            <c:ext xmlns:c16="http://schemas.microsoft.com/office/drawing/2014/chart" uri="{C3380CC4-5D6E-409C-BE32-E72D297353CC}">
              <c16:uniqueId val="{00000001-0AFC-E74B-BBC5-A5A3A6353ECE}"/>
            </c:ext>
          </c:extLst>
        </c:ser>
        <c:ser>
          <c:idx val="2"/>
          <c:order val="2"/>
          <c:tx>
            <c:strRef>
              <c:f>Sheet1!$D$1</c:f>
              <c:strCache>
                <c:ptCount val="1"/>
                <c:pt idx="0">
                  <c:v>Label 3</c:v>
                </c:pt>
              </c:strCache>
            </c:strRef>
          </c:tx>
          <c:spPr>
            <a:solidFill>
              <a:schemeClr val="accent1">
                <a:tint val="65000"/>
              </a:schemeClr>
            </a:solidFill>
            <a:ln>
              <a:noFill/>
            </a:ln>
            <a:effectLst/>
          </c:spPr>
          <c:invertIfNegative val="0"/>
          <c:cat>
            <c:strRef>
              <c:f>Sheet1!$A$2:$A$7</c:f>
              <c:strCache>
                <c:ptCount val="6"/>
                <c:pt idx="0">
                  <c:v>UK</c:v>
                </c:pt>
                <c:pt idx="1">
                  <c:v>Germany</c:v>
                </c:pt>
                <c:pt idx="2">
                  <c:v>France</c:v>
                </c:pt>
                <c:pt idx="3">
                  <c:v>Switzerland</c:v>
                </c:pt>
                <c:pt idx="4">
                  <c:v>Belgium</c:v>
                </c:pt>
                <c:pt idx="5">
                  <c:v>Luxembourg</c:v>
                </c:pt>
              </c:strCache>
            </c:strRef>
          </c:cat>
          <c:val>
            <c:numRef>
              <c:f>Sheet1!$D$2:$D$7</c:f>
              <c:numCache>
                <c:formatCode>General</c:formatCode>
                <c:ptCount val="6"/>
                <c:pt idx="0">
                  <c:v>0</c:v>
                </c:pt>
                <c:pt idx="1">
                  <c:v>0</c:v>
                </c:pt>
                <c:pt idx="2">
                  <c:v>0</c:v>
                </c:pt>
                <c:pt idx="4">
                  <c:v>0</c:v>
                </c:pt>
                <c:pt idx="5">
                  <c:v>0</c:v>
                </c:pt>
              </c:numCache>
            </c:numRef>
          </c:val>
          <c:extLst>
            <c:ext xmlns:c16="http://schemas.microsoft.com/office/drawing/2014/chart" uri="{C3380CC4-5D6E-409C-BE32-E72D297353CC}">
              <c16:uniqueId val="{00000002-0AFC-E74B-BBC5-A5A3A6353ECE}"/>
            </c:ext>
          </c:extLst>
        </c:ser>
        <c:dLbls>
          <c:showLegendKey val="0"/>
          <c:showVal val="0"/>
          <c:showCatName val="0"/>
          <c:showSerName val="0"/>
          <c:showPercent val="0"/>
          <c:showBubbleSize val="0"/>
        </c:dLbls>
        <c:gapWidth val="150"/>
        <c:overlap val="100"/>
        <c:axId val="-1420887120"/>
        <c:axId val="-1420883088"/>
      </c:barChart>
      <c:catAx>
        <c:axId val="-1420887120"/>
        <c:scaling>
          <c:orientation val="minMax"/>
        </c:scaling>
        <c:delete val="1"/>
        <c:axPos val="b"/>
        <c:numFmt formatCode="General" sourceLinked="1"/>
        <c:majorTickMark val="none"/>
        <c:minorTickMark val="none"/>
        <c:tickLblPos val="low"/>
        <c:crossAx val="-1420883088"/>
        <c:crosses val="autoZero"/>
        <c:auto val="0"/>
        <c:lblAlgn val="ctr"/>
        <c:lblOffset val="100"/>
        <c:tickLblSkip val="1"/>
        <c:noMultiLvlLbl val="0"/>
      </c:catAx>
      <c:valAx>
        <c:axId val="-1420883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420887120"/>
        <c:crosses val="autoZero"/>
        <c:crossBetween val="between"/>
      </c:valAx>
      <c: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plotArea>
    <c:plotVisOnly val="1"/>
    <c:dispBlanksAs val="gap"/>
    <c:showDLblsOverMax val="0"/>
  </c:chart>
  <c:spPr>
    <a:noFill/>
    <a:ln>
      <a:noFill/>
    </a:ln>
    <a:effectLst/>
  </c:spPr>
  <c:txPr>
    <a:bodyPr rot="3540000"/>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9-23T16:56:36.737" idx="7">
    <p:pos x="5147" y="1788"/>
    <p:text>je vois l'idée mais peut-être pas généraliser. Peut-etre qu'il ya des gens dans l'audience ou membre de leur famille qui vérifient les pass. Faudrait pas qu'ils le prennent personnelement :D</p:text>
    <p:extLst>
      <p:ext uri="{C676402C-5697-4E1C-873F-D02D1690AC5C}">
        <p15:threadingInfo xmlns:p15="http://schemas.microsoft.com/office/powerpoint/2012/main" timeZoneBias="-120"/>
      </p:ext>
    </p:extLst>
  </p:cm>
  <p:cm authorId="1" dt="2021-09-23T16:58:49.925" idx="8">
    <p:pos x="5147" y="1924"/>
    <p:text>exemple à la place si tu es ok: However, because the employees charged of checking  COVID passes are not always correctly trained or are in a hurry, they sometimes don't check the identity of the pass holder.</p:text>
    <p:extLst>
      <p:ext uri="{C676402C-5697-4E1C-873F-D02D1690AC5C}">
        <p15:threadingInfo xmlns:p15="http://schemas.microsoft.com/office/powerpoint/2012/main" timeZoneBias="-120">
          <p15:parentCm authorId="1" idx="7"/>
        </p15:threadingInfo>
      </p:ext>
    </p:extLst>
  </p:cm>
</p:cmLst>
</file>

<file path=ppt/diagrams/_rels/data1.xml.rels><?xml version="1.0" encoding="UTF-8" standalone="yes"?>
<Relationships xmlns="http://schemas.openxmlformats.org/package/2006/relationships"><Relationship Id="rId1" Type="http://schemas.openxmlformats.org/officeDocument/2006/relationships/image" Target="../media/image11.png"/></Relationships>
</file>

<file path=ppt/diagrams/_rels/data2.xml.rels><?xml version="1.0" encoding="UTF-8" standalone="yes"?>
<Relationships xmlns="http://schemas.openxmlformats.org/package/2006/relationships"><Relationship Id="rId1" Type="http://schemas.openxmlformats.org/officeDocument/2006/relationships/image" Target="../media/image12.png"/></Relationships>
</file>

<file path=ppt/diagrams/_rels/data3.xml.rels><?xml version="1.0" encoding="UTF-8" standalone="yes"?>
<Relationships xmlns="http://schemas.openxmlformats.org/package/2006/relationships"><Relationship Id="rId1" Type="http://schemas.openxmlformats.org/officeDocument/2006/relationships/image" Target="../media/image13.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1.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2.png"/></Relationships>
</file>

<file path=ppt/diagrams/_rels/drawing3.xml.rels><?xml version="1.0" encoding="UTF-8" standalone="yes"?>
<Relationships xmlns="http://schemas.openxmlformats.org/package/2006/relationships"><Relationship Id="rId1" Type="http://schemas.openxmlformats.org/officeDocument/2006/relationships/image" Target="../media/image1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AD6A01-FBF1-4FFE-8F79-33AF9E91FF9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9582092D-43B5-4700-AA8D-358C2EF05638}">
      <dgm:prSet phldrT="[Text]" custT="1"/>
      <dgm:spPr/>
      <dgm:t>
        <a:bodyPr/>
        <a:lstStyle/>
        <a:p>
          <a:r>
            <a:rPr lang="en-US" sz="2400">
              <a:solidFill>
                <a:schemeClr val="accent1"/>
              </a:solidFill>
            </a:rPr>
            <a:t>Alexis</a:t>
          </a:r>
          <a:endParaRPr lang="en-BE" sz="2400">
            <a:solidFill>
              <a:schemeClr val="accent1"/>
            </a:solidFill>
          </a:endParaRPr>
        </a:p>
      </dgm:t>
    </dgm:pt>
    <dgm:pt modelId="{32F338AB-1920-4688-B12D-4B6F0B3FEB77}" type="parTrans" cxnId="{F3A80EFA-FDB0-434E-B109-CE65A30A8270}">
      <dgm:prSet/>
      <dgm:spPr/>
      <dgm:t>
        <a:bodyPr/>
        <a:lstStyle/>
        <a:p>
          <a:endParaRPr lang="en-BE"/>
        </a:p>
      </dgm:t>
    </dgm:pt>
    <dgm:pt modelId="{68B4D48F-AFAE-4A48-A2F7-F80727A12169}" type="sibTrans" cxnId="{F3A80EFA-FDB0-434E-B109-CE65A30A8270}">
      <dgm:prSet/>
      <dgm:spPr>
        <a:blipFill>
          <a:blip xmlns:r="http://schemas.openxmlformats.org/officeDocument/2006/relationships" r:embed="rId1"/>
          <a:srcRect/>
          <a:stretch>
            <a:fillRect/>
          </a:stretch>
        </a:blipFill>
      </dgm:spPr>
      <dgm:t>
        <a:bodyPr/>
        <a:lstStyle/>
        <a:p>
          <a:endParaRPr lang="en-BE"/>
        </a:p>
      </dgm:t>
    </dgm:pt>
    <dgm:pt modelId="{BF760E2C-ABCB-482F-B895-4EE4E64A4975}" type="pres">
      <dgm:prSet presAssocID="{21AD6A01-FBF1-4FFE-8F79-33AF9E91FF9C}" presName="Name0" presStyleCnt="0">
        <dgm:presLayoutVars>
          <dgm:chMax val="7"/>
          <dgm:chPref val="7"/>
          <dgm:dir/>
        </dgm:presLayoutVars>
      </dgm:prSet>
      <dgm:spPr/>
    </dgm:pt>
    <dgm:pt modelId="{0322150D-22A8-4EB9-AE58-EB9DE0CB001A}" type="pres">
      <dgm:prSet presAssocID="{21AD6A01-FBF1-4FFE-8F79-33AF9E91FF9C}" presName="Name1" presStyleCnt="0"/>
      <dgm:spPr/>
    </dgm:pt>
    <dgm:pt modelId="{B478AC0E-A2C9-49BD-B8A1-E2F23175C5E1}" type="pres">
      <dgm:prSet presAssocID="{68B4D48F-AFAE-4A48-A2F7-F80727A12169}" presName="picture_1" presStyleCnt="0"/>
      <dgm:spPr/>
    </dgm:pt>
    <dgm:pt modelId="{3B929609-F986-4261-95C5-65CD1AA3D0F5}" type="pres">
      <dgm:prSet presAssocID="{68B4D48F-AFAE-4A48-A2F7-F80727A12169}" presName="pictureRepeatNode" presStyleLbl="alignImgPlace1" presStyleIdx="0" presStyleCnt="1" custScaleX="117937" custScaleY="117937" custLinFactNeighborX="508" custLinFactNeighborY="-1524"/>
      <dgm:spPr/>
    </dgm:pt>
    <dgm:pt modelId="{AA35EF49-184A-479B-B28C-17610D69390A}" type="pres">
      <dgm:prSet presAssocID="{9582092D-43B5-4700-AA8D-358C2EF05638}" presName="text_1" presStyleLbl="node1" presStyleIdx="0" presStyleCnt="0" custLinFactY="92076" custLinFactNeighborX="-1849" custLinFactNeighborY="100000">
        <dgm:presLayoutVars>
          <dgm:bulletEnabled val="1"/>
        </dgm:presLayoutVars>
      </dgm:prSet>
      <dgm:spPr/>
    </dgm:pt>
  </dgm:ptLst>
  <dgm:cxnLst>
    <dgm:cxn modelId="{D6C85E2D-1C87-4E64-9718-5516DE536B8C}" type="presOf" srcId="{68B4D48F-AFAE-4A48-A2F7-F80727A12169}" destId="{3B929609-F986-4261-95C5-65CD1AA3D0F5}" srcOrd="0" destOrd="0" presId="urn:microsoft.com/office/officeart/2008/layout/CircularPictureCallout"/>
    <dgm:cxn modelId="{5CAF2A42-AE84-4E62-91EB-3878BEA28B1E}" type="presOf" srcId="{9582092D-43B5-4700-AA8D-358C2EF05638}" destId="{AA35EF49-184A-479B-B28C-17610D69390A}" srcOrd="0" destOrd="0" presId="urn:microsoft.com/office/officeart/2008/layout/CircularPictureCallout"/>
    <dgm:cxn modelId="{F3A80EFA-FDB0-434E-B109-CE65A30A8270}" srcId="{21AD6A01-FBF1-4FFE-8F79-33AF9E91FF9C}" destId="{9582092D-43B5-4700-AA8D-358C2EF05638}" srcOrd="0" destOrd="0" parTransId="{32F338AB-1920-4688-B12D-4B6F0B3FEB77}" sibTransId="{68B4D48F-AFAE-4A48-A2F7-F80727A12169}"/>
    <dgm:cxn modelId="{A6E28CFA-DDFC-4BF0-979E-DDF982EA463E}" type="presOf" srcId="{21AD6A01-FBF1-4FFE-8F79-33AF9E91FF9C}" destId="{BF760E2C-ABCB-482F-B895-4EE4E64A4975}" srcOrd="0" destOrd="0" presId="urn:microsoft.com/office/officeart/2008/layout/CircularPictureCallout"/>
    <dgm:cxn modelId="{C086258E-7F03-4DBB-ABDA-FC58EB021E0E}" type="presParOf" srcId="{BF760E2C-ABCB-482F-B895-4EE4E64A4975}" destId="{0322150D-22A8-4EB9-AE58-EB9DE0CB001A}" srcOrd="0" destOrd="0" presId="urn:microsoft.com/office/officeart/2008/layout/CircularPictureCallout"/>
    <dgm:cxn modelId="{6F7CE4BB-EF52-4B37-9EB5-D3C4A719BCFC}" type="presParOf" srcId="{0322150D-22A8-4EB9-AE58-EB9DE0CB001A}" destId="{B478AC0E-A2C9-49BD-B8A1-E2F23175C5E1}" srcOrd="0" destOrd="0" presId="urn:microsoft.com/office/officeart/2008/layout/CircularPictureCallout"/>
    <dgm:cxn modelId="{405BE05A-D32F-4B06-9063-C537E0249B65}" type="presParOf" srcId="{B478AC0E-A2C9-49BD-B8A1-E2F23175C5E1}" destId="{3B929609-F986-4261-95C5-65CD1AA3D0F5}" srcOrd="0" destOrd="0" presId="urn:microsoft.com/office/officeart/2008/layout/CircularPictureCallout"/>
    <dgm:cxn modelId="{902794AA-3157-4B8A-B310-420923C6A653}" type="presParOf" srcId="{0322150D-22A8-4EB9-AE58-EB9DE0CB001A}" destId="{AA35EF49-184A-479B-B28C-17610D69390A}" srcOrd="1" destOrd="0" presId="urn:microsoft.com/office/officeart/2008/layout/CircularPictureCallou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BA3F1C-8EBD-4361-A122-DA976415517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20620410-7D7F-4109-BBAB-D41DF24F62D3}">
      <dgm:prSet phldrT="[Text]" custT="1"/>
      <dgm:spPr/>
      <dgm:t>
        <a:bodyPr/>
        <a:lstStyle/>
        <a:p>
          <a:r>
            <a:rPr lang="en-US" sz="2400">
              <a:solidFill>
                <a:schemeClr val="accent1"/>
              </a:solidFill>
            </a:rPr>
            <a:t>Elliot</a:t>
          </a:r>
          <a:endParaRPr lang="en-BE" sz="2400">
            <a:solidFill>
              <a:schemeClr val="accent1"/>
            </a:solidFill>
          </a:endParaRPr>
        </a:p>
      </dgm:t>
    </dgm:pt>
    <dgm:pt modelId="{49D70FDD-0BF1-41D4-BD96-458264099214}" type="parTrans" cxnId="{95FD8D28-80FB-4E8D-A24C-38770A007658}">
      <dgm:prSet/>
      <dgm:spPr/>
      <dgm:t>
        <a:bodyPr/>
        <a:lstStyle/>
        <a:p>
          <a:endParaRPr lang="en-BE"/>
        </a:p>
      </dgm:t>
    </dgm:pt>
    <dgm:pt modelId="{1CD4B268-03BF-46BA-B943-C4ADCD6E1B7D}" type="sibTrans" cxnId="{95FD8D28-80FB-4E8D-A24C-38770A007658}">
      <dgm:prSet/>
      <dgm:spPr>
        <a:blipFill>
          <a:blip xmlns:r="http://schemas.openxmlformats.org/officeDocument/2006/relationships" r:embed="rId1"/>
          <a:srcRect/>
          <a:stretch>
            <a:fillRect/>
          </a:stretch>
        </a:blipFill>
      </dgm:spPr>
      <dgm:t>
        <a:bodyPr/>
        <a:lstStyle/>
        <a:p>
          <a:endParaRPr lang="en-BE"/>
        </a:p>
      </dgm:t>
    </dgm:pt>
    <dgm:pt modelId="{BC335F31-EE7A-4E6D-A60F-88F8E58BDC41}" type="pres">
      <dgm:prSet presAssocID="{93BA3F1C-8EBD-4361-A122-DA976415517C}" presName="Name0" presStyleCnt="0">
        <dgm:presLayoutVars>
          <dgm:chMax val="7"/>
          <dgm:chPref val="7"/>
          <dgm:dir/>
        </dgm:presLayoutVars>
      </dgm:prSet>
      <dgm:spPr/>
    </dgm:pt>
    <dgm:pt modelId="{B7D4545B-8B1D-4488-94DD-3A432DE85C68}" type="pres">
      <dgm:prSet presAssocID="{93BA3F1C-8EBD-4361-A122-DA976415517C}" presName="Name1" presStyleCnt="0"/>
      <dgm:spPr/>
    </dgm:pt>
    <dgm:pt modelId="{E6C6916F-D22D-401E-A5E2-591862E5193C}" type="pres">
      <dgm:prSet presAssocID="{1CD4B268-03BF-46BA-B943-C4ADCD6E1B7D}" presName="picture_1" presStyleCnt="0"/>
      <dgm:spPr/>
    </dgm:pt>
    <dgm:pt modelId="{B1029ECC-C54E-43CA-80E4-2BB20A9D54E6}" type="pres">
      <dgm:prSet presAssocID="{1CD4B268-03BF-46BA-B943-C4ADCD6E1B7D}" presName="pictureRepeatNode" presStyleLbl="alignImgPlace1" presStyleIdx="0" presStyleCnt="1" custScaleX="111792" custScaleY="111792" custLinFactNeighborX="-44104" custLinFactNeighborY="7309"/>
      <dgm:spPr/>
    </dgm:pt>
    <dgm:pt modelId="{65C13F09-0EE0-49A9-A792-431D41852413}" type="pres">
      <dgm:prSet presAssocID="{20620410-7D7F-4109-BBAB-D41DF24F62D3}" presName="text_1" presStyleLbl="node1" presStyleIdx="0" presStyleCnt="0" custScaleX="130281" custScaleY="48492" custLinFactY="100000" custLinFactNeighborX="-69636" custLinFactNeighborY="126071">
        <dgm:presLayoutVars>
          <dgm:bulletEnabled val="1"/>
        </dgm:presLayoutVars>
      </dgm:prSet>
      <dgm:spPr/>
    </dgm:pt>
  </dgm:ptLst>
  <dgm:cxnLst>
    <dgm:cxn modelId="{ACAAA611-99B9-4AAC-AB0C-32C121A65890}" type="presOf" srcId="{20620410-7D7F-4109-BBAB-D41DF24F62D3}" destId="{65C13F09-0EE0-49A9-A792-431D41852413}" srcOrd="0" destOrd="0" presId="urn:microsoft.com/office/officeart/2008/layout/CircularPictureCallout"/>
    <dgm:cxn modelId="{95FD8D28-80FB-4E8D-A24C-38770A007658}" srcId="{93BA3F1C-8EBD-4361-A122-DA976415517C}" destId="{20620410-7D7F-4109-BBAB-D41DF24F62D3}" srcOrd="0" destOrd="0" parTransId="{49D70FDD-0BF1-41D4-BD96-458264099214}" sibTransId="{1CD4B268-03BF-46BA-B943-C4ADCD6E1B7D}"/>
    <dgm:cxn modelId="{1AEB4BE2-4005-4504-863C-E22D07A5EF34}" type="presOf" srcId="{1CD4B268-03BF-46BA-B943-C4ADCD6E1B7D}" destId="{B1029ECC-C54E-43CA-80E4-2BB20A9D54E6}" srcOrd="0" destOrd="0" presId="urn:microsoft.com/office/officeart/2008/layout/CircularPictureCallout"/>
    <dgm:cxn modelId="{C25611E8-3FE5-4E9C-9EFB-C5E78DC31AAE}" type="presOf" srcId="{93BA3F1C-8EBD-4361-A122-DA976415517C}" destId="{BC335F31-EE7A-4E6D-A60F-88F8E58BDC41}" srcOrd="0" destOrd="0" presId="urn:microsoft.com/office/officeart/2008/layout/CircularPictureCallout"/>
    <dgm:cxn modelId="{3A95C502-8CBD-469F-9293-626610D41405}" type="presParOf" srcId="{BC335F31-EE7A-4E6D-A60F-88F8E58BDC41}" destId="{B7D4545B-8B1D-4488-94DD-3A432DE85C68}" srcOrd="0" destOrd="0" presId="urn:microsoft.com/office/officeart/2008/layout/CircularPictureCallout"/>
    <dgm:cxn modelId="{386D7544-A316-40CF-91F4-2A631E75B256}" type="presParOf" srcId="{B7D4545B-8B1D-4488-94DD-3A432DE85C68}" destId="{E6C6916F-D22D-401E-A5E2-591862E5193C}" srcOrd="0" destOrd="0" presId="urn:microsoft.com/office/officeart/2008/layout/CircularPictureCallout"/>
    <dgm:cxn modelId="{435FF511-625A-420D-8F63-D419E5F40626}" type="presParOf" srcId="{E6C6916F-D22D-401E-A5E2-591862E5193C}" destId="{B1029ECC-C54E-43CA-80E4-2BB20A9D54E6}" srcOrd="0" destOrd="0" presId="urn:microsoft.com/office/officeart/2008/layout/CircularPictureCallout"/>
    <dgm:cxn modelId="{FA24133A-4A3A-4713-8071-E5E5FD6742F2}" type="presParOf" srcId="{B7D4545B-8B1D-4488-94DD-3A432DE85C68}" destId="{65C13F09-0EE0-49A9-A792-431D41852413}" srcOrd="1" destOrd="0" presId="urn:microsoft.com/office/officeart/2008/layout/CircularPictureCallou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458586A-008B-4FF5-A36D-0149E090B3CF}"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EC596684-1869-4406-B4E4-86522C660EEC}">
      <dgm:prSet phldrT="[Text]"/>
      <dgm:spPr/>
      <dgm:t>
        <a:bodyPr/>
        <a:lstStyle/>
        <a:p>
          <a:r>
            <a:rPr lang="en-US">
              <a:solidFill>
                <a:schemeClr val="accent1"/>
              </a:solidFill>
            </a:rPr>
            <a:t>Valentin</a:t>
          </a:r>
          <a:endParaRPr lang="en-BE">
            <a:solidFill>
              <a:schemeClr val="accent1"/>
            </a:solidFill>
          </a:endParaRPr>
        </a:p>
      </dgm:t>
    </dgm:pt>
    <dgm:pt modelId="{089FCA5A-C65F-4F06-BBF8-E5CD5F80EC15}" type="parTrans" cxnId="{91FD69EF-DB52-4659-BD44-CCCCA390426F}">
      <dgm:prSet/>
      <dgm:spPr/>
      <dgm:t>
        <a:bodyPr/>
        <a:lstStyle/>
        <a:p>
          <a:endParaRPr lang="en-BE"/>
        </a:p>
      </dgm:t>
    </dgm:pt>
    <dgm:pt modelId="{3FF7796E-46B7-4AA1-8914-E5AA644A84C4}" type="sibTrans" cxnId="{91FD69EF-DB52-4659-BD44-CCCCA390426F}">
      <dgm:prSet/>
      <dgm:spPr>
        <a:blipFill>
          <a:blip xmlns:r="http://schemas.openxmlformats.org/officeDocument/2006/relationships" r:embed="rId1"/>
          <a:srcRect/>
          <a:stretch>
            <a:fillRect/>
          </a:stretch>
        </a:blipFill>
      </dgm:spPr>
      <dgm:t>
        <a:bodyPr/>
        <a:lstStyle/>
        <a:p>
          <a:endParaRPr lang="en-BE"/>
        </a:p>
      </dgm:t>
    </dgm:pt>
    <dgm:pt modelId="{72BAA0EC-83CA-4CF7-A304-5ADB7D47C9B8}" type="pres">
      <dgm:prSet presAssocID="{4458586A-008B-4FF5-A36D-0149E090B3CF}" presName="Name0" presStyleCnt="0">
        <dgm:presLayoutVars>
          <dgm:chMax val="7"/>
          <dgm:chPref val="7"/>
          <dgm:dir/>
        </dgm:presLayoutVars>
      </dgm:prSet>
      <dgm:spPr/>
    </dgm:pt>
    <dgm:pt modelId="{A609E517-B41B-42D8-B9F0-150E377DA9BF}" type="pres">
      <dgm:prSet presAssocID="{4458586A-008B-4FF5-A36D-0149E090B3CF}" presName="Name1" presStyleCnt="0"/>
      <dgm:spPr/>
    </dgm:pt>
    <dgm:pt modelId="{A9D2F2B4-007B-4E12-994E-91667BF94E0F}" type="pres">
      <dgm:prSet presAssocID="{3FF7796E-46B7-4AA1-8914-E5AA644A84C4}" presName="picture_1" presStyleCnt="0"/>
      <dgm:spPr/>
    </dgm:pt>
    <dgm:pt modelId="{AFE466F1-499A-42F3-A585-8E4804A3FE13}" type="pres">
      <dgm:prSet presAssocID="{3FF7796E-46B7-4AA1-8914-E5AA644A84C4}" presName="pictureRepeatNode" presStyleLbl="alignImgPlace1" presStyleIdx="0" presStyleCnt="1" custScaleX="99169" custScaleY="99169" custLinFactNeighborX="983" custLinFactNeighborY="-37575"/>
      <dgm:spPr/>
    </dgm:pt>
    <dgm:pt modelId="{73C5443D-1A34-48F7-858D-033BBC793F16}" type="pres">
      <dgm:prSet presAssocID="{EC596684-1869-4406-B4E4-86522C660EEC}" presName="text_1" presStyleLbl="node1" presStyleIdx="0" presStyleCnt="0" custLinFactNeighborX="5789" custLinFactNeighborY="35540">
        <dgm:presLayoutVars>
          <dgm:bulletEnabled val="1"/>
        </dgm:presLayoutVars>
      </dgm:prSet>
      <dgm:spPr/>
    </dgm:pt>
  </dgm:ptLst>
  <dgm:cxnLst>
    <dgm:cxn modelId="{B159462F-9EBC-4483-B75E-807094A3EB2B}" type="presOf" srcId="{3FF7796E-46B7-4AA1-8914-E5AA644A84C4}" destId="{AFE466F1-499A-42F3-A585-8E4804A3FE13}" srcOrd="0" destOrd="0" presId="urn:microsoft.com/office/officeart/2008/layout/CircularPictureCallout"/>
    <dgm:cxn modelId="{225B34C4-7A38-436F-A4FD-6633536693A0}" type="presOf" srcId="{4458586A-008B-4FF5-A36D-0149E090B3CF}" destId="{72BAA0EC-83CA-4CF7-A304-5ADB7D47C9B8}" srcOrd="0" destOrd="0" presId="urn:microsoft.com/office/officeart/2008/layout/CircularPictureCallout"/>
    <dgm:cxn modelId="{71B16AEC-9976-4E23-8323-C9B2D80A3DEB}" type="presOf" srcId="{EC596684-1869-4406-B4E4-86522C660EEC}" destId="{73C5443D-1A34-48F7-858D-033BBC793F16}" srcOrd="0" destOrd="0" presId="urn:microsoft.com/office/officeart/2008/layout/CircularPictureCallout"/>
    <dgm:cxn modelId="{91FD69EF-DB52-4659-BD44-CCCCA390426F}" srcId="{4458586A-008B-4FF5-A36D-0149E090B3CF}" destId="{EC596684-1869-4406-B4E4-86522C660EEC}" srcOrd="0" destOrd="0" parTransId="{089FCA5A-C65F-4F06-BBF8-E5CD5F80EC15}" sibTransId="{3FF7796E-46B7-4AA1-8914-E5AA644A84C4}"/>
    <dgm:cxn modelId="{0CF03F92-CDE3-45C6-83E3-88ACE3DAA607}" type="presParOf" srcId="{72BAA0EC-83CA-4CF7-A304-5ADB7D47C9B8}" destId="{A609E517-B41B-42D8-B9F0-150E377DA9BF}" srcOrd="0" destOrd="0" presId="urn:microsoft.com/office/officeart/2008/layout/CircularPictureCallout"/>
    <dgm:cxn modelId="{FD3D4632-3207-460C-9BD2-0DA2FA7CA0FB}" type="presParOf" srcId="{A609E517-B41B-42D8-B9F0-150E377DA9BF}" destId="{A9D2F2B4-007B-4E12-994E-91667BF94E0F}" srcOrd="0" destOrd="0" presId="urn:microsoft.com/office/officeart/2008/layout/CircularPictureCallout"/>
    <dgm:cxn modelId="{6DD768E1-6C23-4753-AF1E-2203D01249A8}" type="presParOf" srcId="{A9D2F2B4-007B-4E12-994E-91667BF94E0F}" destId="{AFE466F1-499A-42F3-A585-8E4804A3FE13}" srcOrd="0" destOrd="0" presId="urn:microsoft.com/office/officeart/2008/layout/CircularPictureCallout"/>
    <dgm:cxn modelId="{764B4402-DC77-49EE-BBD0-6728EF83EB18}" type="presParOf" srcId="{A609E517-B41B-42D8-B9F0-150E377DA9BF}" destId="{73C5443D-1A34-48F7-858D-033BBC793F16}" srcOrd="1" destOrd="0" presId="urn:microsoft.com/office/officeart/2008/layout/CircularPictureCallout"/>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929609-F986-4261-95C5-65CD1AA3D0F5}">
      <dsp:nvSpPr>
        <dsp:cNvPr id="0" name=""/>
        <dsp:cNvSpPr/>
      </dsp:nvSpPr>
      <dsp:spPr>
        <a:xfrm>
          <a:off x="570593" y="683443"/>
          <a:ext cx="1620002" cy="1620002"/>
        </a:xfrm>
        <a:prstGeom prst="ellipse">
          <a:avLst/>
        </a:prstGeom>
        <a:blipFill>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35EF49-184A-479B-B28C-17610D69390A}">
      <dsp:nvSpPr>
        <dsp:cNvPr id="0" name=""/>
        <dsp:cNvSpPr/>
      </dsp:nvSpPr>
      <dsp:spPr>
        <a:xfrm>
          <a:off x="917804" y="2427629"/>
          <a:ext cx="879114" cy="45329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1066800">
            <a:lnSpc>
              <a:spcPct val="90000"/>
            </a:lnSpc>
            <a:spcBef>
              <a:spcPct val="0"/>
            </a:spcBef>
            <a:spcAft>
              <a:spcPct val="35000"/>
            </a:spcAft>
            <a:buNone/>
          </a:pPr>
          <a:r>
            <a:rPr lang="en-US" sz="2400" kern="1200">
              <a:solidFill>
                <a:schemeClr val="accent1"/>
              </a:solidFill>
            </a:rPr>
            <a:t>Alexis</a:t>
          </a:r>
          <a:endParaRPr lang="en-BE" sz="2400" kern="1200">
            <a:solidFill>
              <a:schemeClr val="accent1"/>
            </a:solidFill>
          </a:endParaRPr>
        </a:p>
      </dsp:txBody>
      <dsp:txXfrm>
        <a:off x="917804" y="2427629"/>
        <a:ext cx="879114" cy="4532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29ECC-C54E-43CA-80E4-2BB20A9D54E6}">
      <dsp:nvSpPr>
        <dsp:cNvPr id="0" name=""/>
        <dsp:cNvSpPr/>
      </dsp:nvSpPr>
      <dsp:spPr>
        <a:xfrm>
          <a:off x="0" y="1185768"/>
          <a:ext cx="1620004" cy="1620004"/>
        </a:xfrm>
        <a:prstGeom prst="ellipse">
          <a:avLst/>
        </a:prstGeom>
        <a:blipFill>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C13F09-0EE0-49A9-A792-431D41852413}">
      <dsp:nvSpPr>
        <dsp:cNvPr id="0" name=""/>
        <dsp:cNvSpPr/>
      </dsp:nvSpPr>
      <dsp:spPr>
        <a:xfrm>
          <a:off x="199153" y="3139031"/>
          <a:ext cx="1208277" cy="23189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1066800">
            <a:lnSpc>
              <a:spcPct val="90000"/>
            </a:lnSpc>
            <a:spcBef>
              <a:spcPct val="0"/>
            </a:spcBef>
            <a:spcAft>
              <a:spcPct val="35000"/>
            </a:spcAft>
            <a:buNone/>
          </a:pPr>
          <a:r>
            <a:rPr lang="en-US" sz="2400" kern="1200">
              <a:solidFill>
                <a:schemeClr val="accent1"/>
              </a:solidFill>
            </a:rPr>
            <a:t>Elliot</a:t>
          </a:r>
          <a:endParaRPr lang="en-BE" sz="2400" kern="1200">
            <a:solidFill>
              <a:schemeClr val="accent1"/>
            </a:solidFill>
          </a:endParaRPr>
        </a:p>
      </dsp:txBody>
      <dsp:txXfrm>
        <a:off x="199153" y="3139031"/>
        <a:ext cx="1208277" cy="2318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E466F1-499A-42F3-A585-8E4804A3FE13}">
      <dsp:nvSpPr>
        <dsp:cNvPr id="0" name=""/>
        <dsp:cNvSpPr/>
      </dsp:nvSpPr>
      <dsp:spPr>
        <a:xfrm>
          <a:off x="839629" y="207142"/>
          <a:ext cx="1619994" cy="1619994"/>
        </a:xfrm>
        <a:prstGeom prst="ellipse">
          <a:avLst/>
        </a:prstGeom>
        <a:blipFill>
          <a:blip xmlns:r="http://schemas.openxmlformats.org/officeDocument/2006/relationships" r:embed="rId1"/>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3C5443D-1A34-48F7-858D-033BBC793F16}">
      <dsp:nvSpPr>
        <dsp:cNvPr id="0" name=""/>
        <dsp:cNvSpPr/>
      </dsp:nvSpPr>
      <dsp:spPr>
        <a:xfrm>
          <a:off x="1171349" y="1873182"/>
          <a:ext cx="1045484" cy="53907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1066800">
            <a:lnSpc>
              <a:spcPct val="90000"/>
            </a:lnSpc>
            <a:spcBef>
              <a:spcPct val="0"/>
            </a:spcBef>
            <a:spcAft>
              <a:spcPct val="35000"/>
            </a:spcAft>
            <a:buNone/>
          </a:pPr>
          <a:r>
            <a:rPr lang="en-US" sz="2400" kern="1200">
              <a:solidFill>
                <a:schemeClr val="accent1"/>
              </a:solidFill>
            </a:rPr>
            <a:t>Valentin</a:t>
          </a:r>
          <a:endParaRPr lang="en-BE" sz="2400" kern="1200">
            <a:solidFill>
              <a:schemeClr val="accent1"/>
            </a:solidFill>
          </a:endParaRPr>
        </a:p>
      </dsp:txBody>
      <dsp:txXfrm>
        <a:off x="1171349" y="1873182"/>
        <a:ext cx="1045484" cy="539077"/>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31671</cdr:y>
    </cdr:from>
    <cdr:to>
      <cdr:x>0.06581</cdr:x>
      <cdr:y>0.84752</cdr:y>
    </cdr:to>
    <cdr:sp macro="" textlink="">
      <cdr:nvSpPr>
        <cdr:cNvPr id="18" name="TextBox 17">
          <a:extLst xmlns:a="http://schemas.openxmlformats.org/drawingml/2006/main">
            <a:ext uri="{FF2B5EF4-FFF2-40B4-BE49-F238E27FC236}">
              <a16:creationId xmlns:a16="http://schemas.microsoft.com/office/drawing/2014/main" id="{0E4D0156-A3D4-4F9F-8F55-CD386348FD2E}"/>
            </a:ext>
          </a:extLst>
        </cdr:cNvPr>
        <cdr:cNvSpPr txBox="1"/>
      </cdr:nvSpPr>
      <cdr:spPr>
        <a:xfrm xmlns:a="http://schemas.openxmlformats.org/drawingml/2006/main" rot="16200000">
          <a:off x="-4785636" y="1878495"/>
          <a:ext cx="1855269" cy="3121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1" dirty="0"/>
            <a:t>Budget in millions </a:t>
          </a:r>
          <a:r>
            <a:rPr lang="en-BE" b="1" dirty="0"/>
            <a:t>€</a:t>
          </a:r>
          <a:r>
            <a:rPr lang="en-US" sz="1100" b="1" dirty="0"/>
            <a:t> </a:t>
          </a:r>
          <a:endParaRPr lang="en-BE" sz="11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A195ECE-2C2C-F940-8178-A02686955F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a:extLst>
              <a:ext uri="{FF2B5EF4-FFF2-40B4-BE49-F238E27FC236}">
                <a16:creationId xmlns:a16="http://schemas.microsoft.com/office/drawing/2014/main" id="{31BBCCEC-319D-B847-A309-DE38188C02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D7B74B-9B3C-D040-A82F-D5DD9CDFBCDA}" type="datetimeFigureOut">
              <a:rPr lang="en-US" smtClean="0"/>
              <a:t>10/5/2021</a:t>
            </a:fld>
            <a:endParaRPr lang="en-US"/>
          </a:p>
        </p:txBody>
      </p:sp>
      <p:sp>
        <p:nvSpPr>
          <p:cNvPr id="4" name="Espace réservé du pied de page 3">
            <a:extLst>
              <a:ext uri="{FF2B5EF4-FFF2-40B4-BE49-F238E27FC236}">
                <a16:creationId xmlns:a16="http://schemas.microsoft.com/office/drawing/2014/main" id="{76510B8C-FB38-C247-87AE-314FD1A957D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a:extLst>
              <a:ext uri="{FF2B5EF4-FFF2-40B4-BE49-F238E27FC236}">
                <a16:creationId xmlns:a16="http://schemas.microsoft.com/office/drawing/2014/main" id="{7ED4D940-B318-2243-90CC-A8A12EDD4E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7F766E-43DC-6E46-89FF-DBB8E7A93FE2}" type="slidenum">
              <a:rPr lang="en-US" smtClean="0"/>
              <a:t>‹#›</a:t>
            </a:fld>
            <a:endParaRPr lang="en-US"/>
          </a:p>
        </p:txBody>
      </p:sp>
    </p:spTree>
    <p:extLst>
      <p:ext uri="{BB962C8B-B14F-4D97-AF65-F5344CB8AC3E}">
        <p14:creationId xmlns:p14="http://schemas.microsoft.com/office/powerpoint/2010/main" val="29114195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175" y="685800"/>
            <a:ext cx="60963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t" anchorCtr="0"/>
          <a:lstStyle>
            <a:lvl1pPr lvl="0">
              <a:spcBef>
                <a:spcPts val="0"/>
              </a:spcBef>
              <a:buSzPts val="1400"/>
              <a:buChar char="●"/>
              <a:defRPr sz="1100"/>
            </a:lvl1pPr>
            <a:lvl2pPr lvl="1">
              <a:spcBef>
                <a:spcPts val="0"/>
              </a:spcBef>
              <a:buSzPts val="1400"/>
              <a:buChar char="○"/>
              <a:defRPr sz="1100"/>
            </a:lvl2pPr>
            <a:lvl3pPr lvl="2">
              <a:spcBef>
                <a:spcPts val="0"/>
              </a:spcBef>
              <a:buSzPts val="1400"/>
              <a:buChar char="■"/>
              <a:defRPr sz="1100"/>
            </a:lvl3pPr>
            <a:lvl4pPr lvl="3">
              <a:spcBef>
                <a:spcPts val="0"/>
              </a:spcBef>
              <a:buSzPts val="1400"/>
              <a:buChar char="●"/>
              <a:defRPr sz="1100"/>
            </a:lvl4pPr>
            <a:lvl5pPr lvl="4">
              <a:spcBef>
                <a:spcPts val="0"/>
              </a:spcBef>
              <a:buSzPts val="1400"/>
              <a:buChar char="○"/>
              <a:defRPr sz="1100"/>
            </a:lvl5pPr>
            <a:lvl6pPr lvl="5">
              <a:spcBef>
                <a:spcPts val="0"/>
              </a:spcBef>
              <a:buSzPts val="1400"/>
              <a:buChar char="■"/>
              <a:defRPr sz="1100"/>
            </a:lvl6pPr>
            <a:lvl7pPr lvl="6">
              <a:spcBef>
                <a:spcPts val="0"/>
              </a:spcBef>
              <a:buSzPts val="1400"/>
              <a:buChar char="●"/>
              <a:defRPr sz="1100"/>
            </a:lvl7pPr>
            <a:lvl8pPr lvl="7">
              <a:spcBef>
                <a:spcPts val="0"/>
              </a:spcBef>
              <a:buSzPts val="1400"/>
              <a:buChar char="○"/>
              <a:defRPr sz="1100"/>
            </a:lvl8pPr>
            <a:lvl9pPr lvl="8">
              <a:spcBef>
                <a:spcPts val="0"/>
              </a:spcBef>
              <a:buSzPts val="1400"/>
              <a:buChar char="■"/>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28276881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4220245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SSL pinning:</a:t>
            </a:r>
          </a:p>
          <a:p>
            <a:pPr>
              <a:buNone/>
            </a:pPr>
            <a:r>
              <a:rPr lang="fr-FR"/>
              <a:t>Le certificat SSL crée une base de confiance en établissant une connexion sécurisée.</a:t>
            </a:r>
          </a:p>
          <a:p>
            <a:pPr>
              <a:buNone/>
            </a:pPr>
            <a:r>
              <a:rPr lang="fr-FR"/>
              <a:t>Cela permet entre autre de vérifier l’intégrité des données et d’empêcher leur interception</a:t>
            </a:r>
          </a:p>
          <a:p>
            <a:pPr>
              <a:buNone/>
            </a:pPr>
            <a:endParaRPr lang="en-US"/>
          </a:p>
          <a:p>
            <a:pPr>
              <a:buNone/>
            </a:pPr>
            <a:r>
              <a:rPr lang="en-US"/>
              <a:t>Android stack = pas de framework. </a:t>
            </a:r>
            <a:r>
              <a:rPr lang="en-US" err="1"/>
              <a:t>Juste</a:t>
            </a:r>
            <a:r>
              <a:rPr lang="en-US"/>
              <a:t> SDK android</a:t>
            </a:r>
          </a:p>
          <a:p>
            <a:pPr>
              <a:buNone/>
            </a:pPr>
            <a:r>
              <a:rPr lang="en-US"/>
              <a:t>Flutter = kit development google</a:t>
            </a:r>
          </a:p>
          <a:p>
            <a:pPr>
              <a:buNone/>
            </a:pPr>
            <a:r>
              <a:rPr lang="en-US"/>
              <a:t>Cordova = Apache</a:t>
            </a:r>
            <a:endParaRPr lang="en-BE"/>
          </a:p>
        </p:txBody>
      </p:sp>
    </p:spTree>
    <p:extLst>
      <p:ext uri="{BB962C8B-B14F-4D97-AF65-F5344CB8AC3E}">
        <p14:creationId xmlns:p14="http://schemas.microsoft.com/office/powerpoint/2010/main" val="1153689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Source: </a:t>
            </a:r>
          </a:p>
          <a:p>
            <a:pPr>
              <a:buNone/>
            </a:pPr>
            <a:endParaRPr lang="en-US"/>
          </a:p>
          <a:p>
            <a:pPr>
              <a:buNone/>
            </a:pPr>
            <a:r>
              <a:rPr lang="en-US"/>
              <a:t>https://www.bfmtv.com/tech/developpement-publicite-l-appli-tous-anti-covid-a-coute-7-millions-d-euros_AN-202104080390.html</a:t>
            </a:r>
          </a:p>
          <a:p>
            <a:pPr>
              <a:buNone/>
            </a:pPr>
            <a:r>
              <a:rPr lang="en-US"/>
              <a:t>CWA</a:t>
            </a:r>
          </a:p>
          <a:p>
            <a:pPr>
              <a:buNone/>
            </a:pPr>
            <a:endParaRPr lang="en-US"/>
          </a:p>
          <a:p>
            <a:pPr>
              <a:buNone/>
            </a:pPr>
            <a:r>
              <a:rPr lang="en-US"/>
              <a:t>https://joinup.ec.europa.eu/collection/open-source-observatory-osor/news/belgium-forked-its-covid-19-app</a:t>
            </a:r>
          </a:p>
          <a:p>
            <a:pPr>
              <a:buNone/>
            </a:pPr>
            <a:endParaRPr lang="en-US"/>
          </a:p>
          <a:p>
            <a:pPr>
              <a:buNone/>
            </a:pPr>
            <a:r>
              <a:rPr lang="en-US"/>
              <a:t>https://www.digitalhealth.net/2020/09/total-cost-of-nhs-contact-tracing-app-set-to-top-35-million/</a:t>
            </a:r>
          </a:p>
          <a:p>
            <a:pPr>
              <a:buNone/>
            </a:pPr>
            <a:endParaRPr lang="en-US"/>
          </a:p>
          <a:p>
            <a:pPr>
              <a:buNone/>
            </a:pPr>
            <a:r>
              <a:rPr lang="en-US"/>
              <a:t>https://fr.wikipedia.org/wiki/TousAntiCovid</a:t>
            </a:r>
          </a:p>
          <a:p>
            <a:pPr>
              <a:buNone/>
            </a:pPr>
            <a:r>
              <a:rPr lang="en-US"/>
              <a:t>https://fr.wikipedia.org/wiki/SwissCovid#Costs</a:t>
            </a:r>
            <a:endParaRPr lang="en-BE"/>
          </a:p>
        </p:txBody>
      </p:sp>
    </p:spTree>
    <p:extLst>
      <p:ext uri="{BB962C8B-B14F-4D97-AF65-F5344CB8AC3E}">
        <p14:creationId xmlns:p14="http://schemas.microsoft.com/office/powerpoint/2010/main" val="34235999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Shape 10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0" name="Shape 11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1237537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At the start of the COVID pass, France used a format for the COVID pass called </a:t>
            </a:r>
            <a:r>
              <a:rPr lang="en-US" sz="1100" b="1">
                <a:latin typeface="Calibri" panose="020F0502020204030204" pitchFamily="34" charset="0"/>
                <a:ea typeface="Calibri" panose="020F0502020204030204" pitchFamily="34" charset="0"/>
                <a:cs typeface="Arial" panose="020B0604020202020204" pitchFamily="34" charset="0"/>
              </a:rPr>
              <a:t>2D Doc </a:t>
            </a:r>
            <a:r>
              <a:rPr lang="en-US" sz="1100">
                <a:latin typeface="Calibri" panose="020F0502020204030204" pitchFamily="34" charset="0"/>
                <a:ea typeface="Calibri" panose="020F0502020204030204" pitchFamily="34" charset="0"/>
                <a:cs typeface="Arial" panose="020B0604020202020204" pitchFamily="34" charset="0"/>
              </a:rPr>
              <a:t>which is a derived from a Data Matrix. This format is like a QR code with an error recovery feature and a different reading method.</a:t>
            </a:r>
          </a:p>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In this, a lot information were planned to be contained as shown in the specification</a:t>
            </a:r>
            <a:r>
              <a:rPr lang="en-US" sz="200">
                <a:latin typeface="Calibri" panose="020F0502020204030204" pitchFamily="34" charset="0"/>
                <a:ea typeface="Calibri" panose="020F0502020204030204" pitchFamily="34" charset="0"/>
                <a:cs typeface="Arial" panose="020B0604020202020204" pitchFamily="34" charset="0"/>
              </a:rPr>
              <a:t>(1)</a:t>
            </a:r>
            <a:r>
              <a:rPr lang="en-US" sz="1100">
                <a:latin typeface="Calibri" panose="020F0502020204030204" pitchFamily="34" charset="0"/>
                <a:ea typeface="Calibri" panose="020F0502020204030204" pitchFamily="34" charset="0"/>
                <a:cs typeface="Arial" panose="020B0604020202020204" pitchFamily="34" charset="0"/>
              </a:rPr>
              <a:t>.</a:t>
            </a:r>
          </a:p>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In the end, few information are contained in the 2D Doc that the citizens received.</a:t>
            </a:r>
          </a:p>
        </p:txBody>
      </p:sp>
    </p:spTree>
    <p:extLst>
      <p:ext uri="{BB962C8B-B14F-4D97-AF65-F5344CB8AC3E}">
        <p14:creationId xmlns:p14="http://schemas.microsoft.com/office/powerpoint/2010/main" val="1550987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At the start of the COVID pass, France used a format for the COVID pass called </a:t>
            </a:r>
            <a:r>
              <a:rPr lang="en-US" sz="1100" b="1">
                <a:latin typeface="Calibri" panose="020F0502020204030204" pitchFamily="34" charset="0"/>
                <a:ea typeface="Calibri" panose="020F0502020204030204" pitchFamily="34" charset="0"/>
                <a:cs typeface="Arial" panose="020B0604020202020204" pitchFamily="34" charset="0"/>
              </a:rPr>
              <a:t>2D Doc </a:t>
            </a:r>
            <a:r>
              <a:rPr lang="en-US" sz="1100">
                <a:latin typeface="Calibri" panose="020F0502020204030204" pitchFamily="34" charset="0"/>
                <a:ea typeface="Calibri" panose="020F0502020204030204" pitchFamily="34" charset="0"/>
                <a:cs typeface="Arial" panose="020B0604020202020204" pitchFamily="34" charset="0"/>
              </a:rPr>
              <a:t>which is a derived from a Data Matrix. This format is like a QR code with an error recovery feature and a different reading method.</a:t>
            </a:r>
          </a:p>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In this, a lot information were planned to be contained as shown in the specification</a:t>
            </a:r>
            <a:r>
              <a:rPr lang="en-US" sz="200">
                <a:latin typeface="Calibri" panose="020F0502020204030204" pitchFamily="34" charset="0"/>
                <a:ea typeface="Calibri" panose="020F0502020204030204" pitchFamily="34" charset="0"/>
                <a:cs typeface="Arial" panose="020B0604020202020204" pitchFamily="34" charset="0"/>
              </a:rPr>
              <a:t>(1)</a:t>
            </a:r>
            <a:r>
              <a:rPr lang="en-US" sz="1100">
                <a:latin typeface="Calibri" panose="020F0502020204030204" pitchFamily="34" charset="0"/>
                <a:ea typeface="Calibri" panose="020F0502020204030204" pitchFamily="34" charset="0"/>
                <a:cs typeface="Arial" panose="020B0604020202020204" pitchFamily="34" charset="0"/>
              </a:rPr>
              <a:t>.</a:t>
            </a:r>
          </a:p>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In the end, few information are contained in the 2D Doc that the citizens received.</a:t>
            </a:r>
          </a:p>
        </p:txBody>
      </p:sp>
    </p:spTree>
    <p:extLst>
      <p:ext uri="{BB962C8B-B14F-4D97-AF65-F5344CB8AC3E}">
        <p14:creationId xmlns:p14="http://schemas.microsoft.com/office/powerpoint/2010/main" val="2977450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Pts val="1400"/>
              <a:buFont typeface="Arial" panose="020B0604020202020204" pitchFamily="34" charset="0"/>
              <a:buNone/>
              <a:tabLst/>
              <a:defRPr/>
            </a:pPr>
            <a:r>
              <a:rPr lang="en-US" sz="1100">
                <a:latin typeface="Calibri" panose="020F0502020204030204" pitchFamily="34" charset="0"/>
                <a:ea typeface="Calibri" panose="020F0502020204030204" pitchFamily="34" charset="0"/>
                <a:cs typeface="Arial" panose="020B0604020202020204" pitchFamily="34" charset="0"/>
              </a:rPr>
              <a:t>This data is available in cleartext in the data matrix once translated in chain of characters. A sequence of characters starting by the ‘\x1D’ character (Group separator) delimit the different fields in the string.</a:t>
            </a:r>
          </a:p>
          <a:p>
            <a:pPr marL="0" indent="0">
              <a:lnSpc>
                <a:spcPct val="107000"/>
              </a:lnSpc>
              <a:buFont typeface="Arial" panose="020B0604020202020204" pitchFamily="34" charset="0"/>
              <a:buNone/>
            </a:pPr>
            <a:endParaRPr lang="en-US" sz="110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16846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The accord for the EU certificate is dated from the</a:t>
            </a:r>
            <a:r>
              <a:rPr lang="fr-FR" b="0" i="0">
                <a:solidFill>
                  <a:srgbClr val="000000"/>
                </a:solidFill>
                <a:effectLst/>
                <a:latin typeface="Arial" panose="020B0604020202020204" pitchFamily="34" charset="0"/>
              </a:rPr>
              <a:t> </a:t>
            </a:r>
            <a:r>
              <a:rPr lang="fr-FR" b="0" i="0" err="1">
                <a:solidFill>
                  <a:srgbClr val="000000"/>
                </a:solidFill>
                <a:effectLst/>
                <a:latin typeface="Arial" panose="020B0604020202020204" pitchFamily="34" charset="0"/>
              </a:rPr>
              <a:t>may</a:t>
            </a:r>
            <a:r>
              <a:rPr lang="fr-FR" b="0" i="0">
                <a:solidFill>
                  <a:srgbClr val="000000"/>
                </a:solidFill>
                <a:effectLst/>
                <a:latin typeface="Arial" panose="020B0604020202020204" pitchFamily="34" charset="0"/>
              </a:rPr>
              <a:t> 2021</a:t>
            </a:r>
            <a:br>
              <a:rPr lang="en-US" sz="1100">
                <a:latin typeface="Calibri"/>
                <a:ea typeface="Calibri" panose="020F0502020204030204" pitchFamily="34" charset="0"/>
                <a:cs typeface="Arial"/>
              </a:rPr>
            </a:br>
            <a:r>
              <a:rPr lang="en-US" sz="1100">
                <a:latin typeface="Calibri"/>
                <a:ea typeface="Calibri" panose="020F0502020204030204" pitchFamily="34" charset="0"/>
                <a:cs typeface="Arial"/>
              </a:rPr>
              <a:t>The 23rd of June 2021, Covid Certificates were uniformized between countries inside the EU. All the counties  adopted the </a:t>
            </a:r>
            <a:r>
              <a:rPr lang="en-US" sz="1100" b="1">
                <a:latin typeface="Calibri"/>
                <a:ea typeface="Calibri" panose="020F0502020204030204" pitchFamily="34" charset="0"/>
                <a:cs typeface="Arial"/>
              </a:rPr>
              <a:t>Digital Covid Certificate </a:t>
            </a:r>
            <a:r>
              <a:rPr lang="en-US" sz="1100">
                <a:latin typeface="Calibri"/>
                <a:ea typeface="Calibri" panose="020F0502020204030204" pitchFamily="34" charset="0"/>
                <a:cs typeface="Arial"/>
              </a:rPr>
              <a:t>(</a:t>
            </a:r>
            <a:r>
              <a:rPr lang="en-US" sz="1100" b="1">
                <a:latin typeface="Calibri"/>
                <a:ea typeface="Calibri" panose="020F0502020204030204" pitchFamily="34" charset="0"/>
                <a:cs typeface="Arial"/>
              </a:rPr>
              <a:t>DCC</a:t>
            </a:r>
            <a:r>
              <a:rPr lang="en-US" sz="1100">
                <a:latin typeface="Calibri"/>
                <a:ea typeface="Calibri" panose="020F0502020204030204" pitchFamily="34" charset="0"/>
                <a:cs typeface="Arial"/>
              </a:rPr>
              <a:t>) based on the QR code technology.</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A lot less information are made to be stored in it as described in the specifications</a:t>
            </a:r>
            <a:r>
              <a:rPr lang="en-US" sz="400">
                <a:latin typeface="Calibri"/>
                <a:ea typeface="Calibri" panose="020F0502020204030204" pitchFamily="34" charset="0"/>
                <a:cs typeface="Arial"/>
              </a:rPr>
              <a:t>(1)</a:t>
            </a:r>
            <a:r>
              <a:rPr lang="en-US" sz="1100">
                <a:latin typeface="Calibri"/>
                <a:ea typeface="Calibri" panose="020F0502020204030204" pitchFamily="34" charset="0"/>
                <a:cs typeface="Arial"/>
              </a:rPr>
              <a:t>.</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This new certificate was made for three purposes:</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Vaccine</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Tests (PCR)</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Recoveries</a:t>
            </a:r>
            <a:endParaRPr lang="en-BE" sz="1100">
              <a:latin typeface="Calibri"/>
              <a:ea typeface="Calibri" panose="020F0502020204030204" pitchFamily="34" charset="0"/>
              <a:cs typeface="Arial"/>
            </a:endParaRPr>
          </a:p>
          <a:p>
            <a:pPr marL="0" indent="0">
              <a:lnSpc>
                <a:spcPct val="107000"/>
              </a:lnSpc>
              <a:buFont typeface="Arial" panose="020B0604020202020204" pitchFamily="34" charset="0"/>
              <a:buNone/>
            </a:pPr>
            <a:endParaRPr lang="en-US" sz="110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713783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The 23rd of June 2021, Covid Certificates were uniformized between countries inside the EU. All the counties  adopted the </a:t>
            </a:r>
            <a:r>
              <a:rPr lang="en-US" sz="1100" b="1">
                <a:latin typeface="Calibri"/>
                <a:ea typeface="Calibri" panose="020F0502020204030204" pitchFamily="34" charset="0"/>
                <a:cs typeface="Arial"/>
              </a:rPr>
              <a:t>Digital Covid Certificate </a:t>
            </a:r>
            <a:r>
              <a:rPr lang="en-US" sz="1100">
                <a:latin typeface="Calibri"/>
                <a:ea typeface="Calibri" panose="020F0502020204030204" pitchFamily="34" charset="0"/>
                <a:cs typeface="Arial"/>
              </a:rPr>
              <a:t>(</a:t>
            </a:r>
            <a:r>
              <a:rPr lang="en-US" sz="1100" b="1">
                <a:latin typeface="Calibri"/>
                <a:ea typeface="Calibri" panose="020F0502020204030204" pitchFamily="34" charset="0"/>
                <a:cs typeface="Arial"/>
              </a:rPr>
              <a:t>DCC</a:t>
            </a:r>
            <a:r>
              <a:rPr lang="en-US" sz="1100">
                <a:latin typeface="Calibri"/>
                <a:ea typeface="Calibri" panose="020F0502020204030204" pitchFamily="34" charset="0"/>
                <a:cs typeface="Arial"/>
              </a:rPr>
              <a:t>) based on the QR code technology.</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A lot less information are made to be stored in it as described in the specifications</a:t>
            </a:r>
            <a:r>
              <a:rPr lang="en-US" sz="400">
                <a:latin typeface="Calibri"/>
                <a:ea typeface="Calibri" panose="020F0502020204030204" pitchFamily="34" charset="0"/>
                <a:cs typeface="Arial"/>
              </a:rPr>
              <a:t>(1)</a:t>
            </a:r>
            <a:r>
              <a:rPr lang="en-US" sz="1100">
                <a:latin typeface="Calibri"/>
                <a:ea typeface="Calibri" panose="020F0502020204030204" pitchFamily="34" charset="0"/>
                <a:cs typeface="Arial"/>
              </a:rPr>
              <a:t>.</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This new certificate was made for three purposes:</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Vaccine</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Tests (PCR)</a:t>
            </a:r>
          </a:p>
          <a:p>
            <a:pPr marL="0" indent="0">
              <a:lnSpc>
                <a:spcPct val="107000"/>
              </a:lnSpc>
              <a:buFont typeface="Arial" panose="020B0604020202020204" pitchFamily="34" charset="0"/>
              <a:buNone/>
            </a:pPr>
            <a:r>
              <a:rPr lang="en-US" sz="1100">
                <a:latin typeface="Calibri"/>
                <a:ea typeface="Calibri" panose="020F0502020204030204" pitchFamily="34" charset="0"/>
                <a:cs typeface="Arial"/>
              </a:rPr>
              <a:t> -  Recoveries</a:t>
            </a:r>
            <a:endParaRPr lang="en-BE" sz="1100">
              <a:latin typeface="Calibri"/>
              <a:ea typeface="Calibri" panose="020F0502020204030204" pitchFamily="34" charset="0"/>
              <a:cs typeface="Arial"/>
            </a:endParaRPr>
          </a:p>
          <a:p>
            <a:pPr marL="0" indent="0">
              <a:lnSpc>
                <a:spcPct val="107000"/>
              </a:lnSpc>
              <a:buFont typeface="Arial" panose="020B0604020202020204" pitchFamily="34" charset="0"/>
              <a:buNone/>
            </a:pPr>
            <a:endParaRPr lang="en-US" sz="110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29343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Pts val="1400"/>
              <a:buFont typeface="Arial" panose="020B0604020202020204" pitchFamily="34" charset="0"/>
              <a:buNone/>
              <a:tabLst/>
              <a:defRPr/>
            </a:pPr>
            <a:r>
              <a:rPr lang="en-US" sz="1100">
                <a:latin typeface="Calibri" panose="020F0502020204030204" pitchFamily="34" charset="0"/>
                <a:ea typeface="Calibri" panose="020F0502020204030204" pitchFamily="34" charset="0"/>
                <a:cs typeface="Arial" panose="020B0604020202020204" pitchFamily="34" charset="0"/>
              </a:rPr>
              <a:t>The data is encoded using base 45 and </a:t>
            </a:r>
            <a:r>
              <a:rPr lang="en-US" sz="1100" err="1">
                <a:latin typeface="Calibri" panose="020F0502020204030204" pitchFamily="34" charset="0"/>
                <a:ea typeface="Calibri" panose="020F0502020204030204" pitchFamily="34" charset="0"/>
                <a:cs typeface="Arial" panose="020B0604020202020204" pitchFamily="34" charset="0"/>
              </a:rPr>
              <a:t>Zlib</a:t>
            </a:r>
            <a:r>
              <a:rPr lang="en-US" sz="1100">
                <a:latin typeface="Calibri" panose="020F0502020204030204" pitchFamily="34" charset="0"/>
                <a:ea typeface="Calibri" panose="020F0502020204030204" pitchFamily="34" charset="0"/>
                <a:cs typeface="Arial" panose="020B0604020202020204" pitchFamily="34" charset="0"/>
              </a:rPr>
              <a:t>. Once decoded, the data is represented using the CBOR format; which basically a binary JSON, contained in a COSE binary; which is an object containing headers, a payload and a signature. Even if there are many layers of encoding, the data is easily accessible and the QR codes can be decoded without needing any other external data.</a:t>
            </a:r>
          </a:p>
          <a:p>
            <a:pPr marL="0" indent="0">
              <a:lnSpc>
                <a:spcPct val="107000"/>
              </a:lnSpc>
              <a:buFont typeface="Arial" panose="020B0604020202020204" pitchFamily="34" charset="0"/>
              <a:buNone/>
            </a:pPr>
            <a:endParaRPr lang="en-US" sz="110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96004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17011832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Pts val="1400"/>
              <a:buFont typeface="Arial" panose="020B0604020202020204" pitchFamily="34" charset="0"/>
              <a:buNone/>
              <a:tabLst/>
              <a:defRPr/>
            </a:pPr>
            <a:r>
              <a:rPr lang="en-US"/>
              <a:t>Fun fact: it’s much harder to find a COVID certificate for a test, even a fake one, than a valid vaccine certificate on Google image</a:t>
            </a:r>
          </a:p>
        </p:txBody>
      </p:sp>
    </p:spTree>
    <p:extLst>
      <p:ext uri="{BB962C8B-B14F-4D97-AF65-F5344CB8AC3E}">
        <p14:creationId xmlns:p14="http://schemas.microsoft.com/office/powerpoint/2010/main" val="4138369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Pts val="1400"/>
              <a:buFont typeface="Arial" panose="020B0604020202020204" pitchFamily="34" charset="0"/>
              <a:buNone/>
              <a:tabLst/>
              <a:defRPr/>
            </a:pPr>
            <a:r>
              <a:rPr lang="en-US" sz="1100">
                <a:latin typeface="+mn-lt"/>
                <a:ea typeface="+mn-ea"/>
                <a:cs typeface="+mn-cs"/>
              </a:rPr>
              <a:t>The data is contained in the exact same way as for the vaccine one</a:t>
            </a:r>
          </a:p>
        </p:txBody>
      </p:sp>
    </p:spTree>
    <p:extLst>
      <p:ext uri="{BB962C8B-B14F-4D97-AF65-F5344CB8AC3E}">
        <p14:creationId xmlns:p14="http://schemas.microsoft.com/office/powerpoint/2010/main" val="2986366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7000"/>
              </a:lnSpc>
              <a:buFont typeface="Arial" panose="020B0604020202020204" pitchFamily="34" charset="0"/>
              <a:buNone/>
            </a:pPr>
            <a:r>
              <a:rPr lang="en-US" sz="1100">
                <a:latin typeface="Calibri" panose="020F0502020204030204" pitchFamily="34" charset="0"/>
                <a:ea typeface="Calibri" panose="020F0502020204030204" pitchFamily="34" charset="0"/>
                <a:cs typeface="Arial" panose="020B0604020202020204" pitchFamily="34" charset="0"/>
              </a:rPr>
              <a:t>The goal of those certificate vary depending on the country, for example, in Australia, the pass is only required for travels. All the mentioned COVID certificate are based on QR codes.</a:t>
            </a:r>
            <a:endParaRPr lang="en-BE" sz="110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95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Shape 10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0" name="Shape 11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a:t>http://www.lessentiel.lu/fr/corona/story/il-achete-un-faux-pass-sanitaire-300-euros-15498048 source </a:t>
            </a:r>
            <a:r>
              <a:rPr lang="en-US" err="1"/>
              <a:t>amende</a:t>
            </a:r>
            <a:endParaRPr/>
          </a:p>
        </p:txBody>
      </p:sp>
    </p:spTree>
    <p:extLst>
      <p:ext uri="{BB962C8B-B14F-4D97-AF65-F5344CB8AC3E}">
        <p14:creationId xmlns:p14="http://schemas.microsoft.com/office/powerpoint/2010/main" val="22944758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Shape 10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0" name="Shape 11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3562428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37802665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6727930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github.com/eu-digital-green-certificates/SwiftCBOR/blob/87b967bb9017303b54e0cbda659011e08821bcad/Sources/SwiftCBOR/Decoder/UnkeyedDecodingContainer.swift#L62</a:t>
            </a:r>
            <a:endParaRPr lang="en-BE"/>
          </a:p>
        </p:txBody>
      </p:sp>
    </p:spTree>
    <p:extLst>
      <p:ext uri="{BB962C8B-B14F-4D97-AF65-F5344CB8AC3E}">
        <p14:creationId xmlns:p14="http://schemas.microsoft.com/office/powerpoint/2010/main" val="29130827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Shape 10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0" name="Shape 11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a:t>Contact tracing app are made to follow and slow down the COVID</a:t>
            </a:r>
            <a:endParaRPr lang="fr-FR"/>
          </a:p>
          <a:p>
            <a:pPr marL="0" lvl="0" indent="0">
              <a:spcBef>
                <a:spcPts val="0"/>
              </a:spcBef>
              <a:buNone/>
            </a:pPr>
            <a:r>
              <a:rPr lang="fr-LU"/>
              <a:t>All app are compliant </a:t>
            </a:r>
            <a:r>
              <a:rPr lang="fr-LU" err="1"/>
              <a:t>with</a:t>
            </a:r>
            <a:r>
              <a:rPr lang="fr-LU"/>
              <a:t> EU </a:t>
            </a:r>
            <a:r>
              <a:rPr lang="fr-LU" err="1"/>
              <a:t>lows</a:t>
            </a:r>
            <a:r>
              <a:rPr lang="fr-LU"/>
              <a:t> about the data </a:t>
            </a:r>
            <a:r>
              <a:rPr lang="fr-LU" err="1"/>
              <a:t>privacy</a:t>
            </a:r>
            <a:r>
              <a:rPr lang="fr-LU"/>
              <a:t>.</a:t>
            </a:r>
            <a:endParaRPr/>
          </a:p>
        </p:txBody>
      </p:sp>
    </p:spTree>
    <p:extLst>
      <p:ext uri="{BB962C8B-B14F-4D97-AF65-F5344CB8AC3E}">
        <p14:creationId xmlns:p14="http://schemas.microsoft.com/office/powerpoint/2010/main" val="31874516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FR"/>
              <a:t> </a:t>
            </a:r>
            <a:r>
              <a:rPr lang="fr-FR" err="1"/>
              <a:t>Centralised</a:t>
            </a:r>
            <a:r>
              <a:rPr lang="fr-FR"/>
              <a:t>:</a:t>
            </a:r>
          </a:p>
          <a:p>
            <a:pPr lvl="1"/>
            <a:r>
              <a:rPr lang="fr-FR"/>
              <a:t> Server </a:t>
            </a:r>
            <a:r>
              <a:rPr lang="fr-FR" err="1"/>
              <a:t>computes</a:t>
            </a:r>
            <a:r>
              <a:rPr lang="fr-FR"/>
              <a:t> contacts</a:t>
            </a:r>
          </a:p>
          <a:p>
            <a:pPr lvl="1"/>
            <a:r>
              <a:rPr lang="fr-FR"/>
              <a:t> </a:t>
            </a:r>
            <a:r>
              <a:rPr lang="fr-FR" err="1"/>
              <a:t>Only</a:t>
            </a:r>
            <a:r>
              <a:rPr lang="fr-FR"/>
              <a:t> the notification </a:t>
            </a:r>
            <a:r>
              <a:rPr lang="fr-FR" err="1"/>
              <a:t>is</a:t>
            </a:r>
            <a:r>
              <a:rPr lang="fr-FR"/>
              <a:t> </a:t>
            </a:r>
            <a:r>
              <a:rPr lang="fr-FR" err="1"/>
              <a:t>send</a:t>
            </a:r>
            <a:endParaRPr lang="fr-FR"/>
          </a:p>
          <a:p>
            <a:pPr lvl="1"/>
            <a:endParaRPr lang="fr-FR"/>
          </a:p>
          <a:p>
            <a:pPr lvl="0"/>
            <a:r>
              <a:rPr lang="fr-FR"/>
              <a:t> </a:t>
            </a:r>
            <a:r>
              <a:rPr lang="fr-FR" err="1"/>
              <a:t>Decentralized</a:t>
            </a:r>
            <a:r>
              <a:rPr lang="fr-FR"/>
              <a:t>:</a:t>
            </a:r>
          </a:p>
          <a:p>
            <a:pPr lvl="1"/>
            <a:r>
              <a:rPr lang="fr-FR"/>
              <a:t> The server </a:t>
            </a:r>
            <a:r>
              <a:rPr lang="fr-FR" err="1"/>
              <a:t>send</a:t>
            </a:r>
            <a:r>
              <a:rPr lang="fr-FR"/>
              <a:t> to </a:t>
            </a:r>
            <a:r>
              <a:rPr lang="fr-FR" err="1"/>
              <a:t>othe</a:t>
            </a:r>
            <a:r>
              <a:rPr lang="fr-FR"/>
              <a:t> </a:t>
            </a:r>
            <a:r>
              <a:rPr lang="fr-FR" err="1"/>
              <a:t>users</a:t>
            </a:r>
            <a:r>
              <a:rPr lang="fr-FR"/>
              <a:t> the keys of COVID+ people</a:t>
            </a:r>
          </a:p>
          <a:p>
            <a:pPr lvl="1"/>
            <a:r>
              <a:rPr lang="fr-FR"/>
              <a:t> The smartphone download the keys and </a:t>
            </a:r>
            <a:r>
              <a:rPr lang="fr-FR" err="1"/>
              <a:t>compute</a:t>
            </a:r>
            <a:r>
              <a:rPr lang="fr-FR"/>
              <a:t> if the user </a:t>
            </a:r>
            <a:r>
              <a:rPr lang="fr-FR" err="1"/>
              <a:t>was</a:t>
            </a:r>
            <a:r>
              <a:rPr lang="fr-FR"/>
              <a:t> in contact </a:t>
            </a:r>
            <a:r>
              <a:rPr lang="fr-FR" err="1"/>
              <a:t>with</a:t>
            </a:r>
            <a:r>
              <a:rPr lang="fr-FR"/>
              <a:t> a covid+ people.</a:t>
            </a:r>
          </a:p>
        </p:txBody>
      </p:sp>
    </p:spTree>
    <p:extLst>
      <p:ext uri="{BB962C8B-B14F-4D97-AF65-F5344CB8AC3E}">
        <p14:creationId xmlns:p14="http://schemas.microsoft.com/office/powerpoint/2010/main" val="3321107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Shape 9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2" name="Shape 92"/>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20815151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fr-FR"/>
              <a:t>The 60% (in </a:t>
            </a:r>
            <a:r>
              <a:rPr lang="fr-FR" err="1"/>
              <a:t>fact</a:t>
            </a:r>
            <a:r>
              <a:rPr lang="fr-FR"/>
              <a:t> 59%) </a:t>
            </a:r>
            <a:r>
              <a:rPr lang="fr-FR" err="1"/>
              <a:t>is</a:t>
            </a:r>
            <a:r>
              <a:rPr lang="fr-FR"/>
              <a:t> the optimum percent of usage in </a:t>
            </a:r>
            <a:r>
              <a:rPr lang="fr-FR" err="1"/>
              <a:t>order</a:t>
            </a:r>
            <a:r>
              <a:rPr lang="fr-FR"/>
              <a:t> to « </a:t>
            </a:r>
            <a:r>
              <a:rPr lang="fr-FR" err="1"/>
              <a:t>kill</a:t>
            </a:r>
            <a:r>
              <a:rPr lang="fr-FR"/>
              <a:t> » the </a:t>
            </a:r>
            <a:r>
              <a:rPr lang="fr-FR" err="1"/>
              <a:t>pendemic</a:t>
            </a:r>
            <a:r>
              <a:rPr lang="fr-FR"/>
              <a:t>.</a:t>
            </a:r>
          </a:p>
          <a:p>
            <a:pPr>
              <a:buNone/>
            </a:pPr>
            <a:r>
              <a:rPr lang="fr-FR"/>
              <a:t>Even </a:t>
            </a:r>
            <a:r>
              <a:rPr lang="fr-FR" err="1"/>
              <a:t>with</a:t>
            </a:r>
            <a:r>
              <a:rPr lang="fr-FR"/>
              <a:t> </a:t>
            </a:r>
            <a:r>
              <a:rPr lang="fr-FR" err="1"/>
              <a:t>less</a:t>
            </a:r>
            <a:r>
              <a:rPr lang="fr-FR"/>
              <a:t> </a:t>
            </a:r>
            <a:r>
              <a:rPr lang="fr-FR" err="1"/>
              <a:t>users</a:t>
            </a:r>
            <a:r>
              <a:rPr lang="fr-FR"/>
              <a:t>, the usage of contact tracing </a:t>
            </a:r>
            <a:r>
              <a:rPr lang="fr-FR" err="1"/>
              <a:t>will</a:t>
            </a:r>
            <a:r>
              <a:rPr lang="fr-FR"/>
              <a:t> help to slow down the </a:t>
            </a:r>
            <a:r>
              <a:rPr lang="fr-FR" err="1"/>
              <a:t>pandemic</a:t>
            </a:r>
            <a:r>
              <a:rPr lang="fr-FR"/>
              <a:t>.</a:t>
            </a:r>
          </a:p>
          <a:p>
            <a:pPr>
              <a:buNone/>
            </a:pPr>
            <a:endParaRPr lang="fr-FR"/>
          </a:p>
        </p:txBody>
      </p:sp>
    </p:spTree>
    <p:extLst>
      <p:ext uri="{BB962C8B-B14F-4D97-AF65-F5344CB8AC3E}">
        <p14:creationId xmlns:p14="http://schemas.microsoft.com/office/powerpoint/2010/main" val="561026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LU"/>
          </a:p>
        </p:txBody>
      </p:sp>
    </p:spTree>
    <p:extLst>
      <p:ext uri="{BB962C8B-B14F-4D97-AF65-F5344CB8AC3E}">
        <p14:creationId xmlns:p14="http://schemas.microsoft.com/office/powerpoint/2010/main" val="4845943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FR" err="1"/>
              <a:t>Private</a:t>
            </a:r>
            <a:r>
              <a:rPr lang="fr-FR"/>
              <a:t> key: In </a:t>
            </a:r>
            <a:r>
              <a:rPr lang="fr-FR" err="1"/>
              <a:t>decentralized</a:t>
            </a:r>
            <a:r>
              <a:rPr lang="fr-FR"/>
              <a:t> mode, a </a:t>
            </a:r>
            <a:r>
              <a:rPr lang="fr-FR" err="1"/>
              <a:t>private</a:t>
            </a:r>
            <a:r>
              <a:rPr lang="fr-FR"/>
              <a:t> key </a:t>
            </a:r>
            <a:r>
              <a:rPr lang="fr-FR" err="1"/>
              <a:t>is</a:t>
            </a:r>
            <a:r>
              <a:rPr lang="fr-FR"/>
              <a:t> </a:t>
            </a:r>
            <a:r>
              <a:rPr lang="fr-FR" err="1"/>
              <a:t>generated</a:t>
            </a:r>
            <a:r>
              <a:rPr lang="fr-FR"/>
              <a:t> </a:t>
            </a:r>
            <a:r>
              <a:rPr lang="fr-FR" err="1"/>
              <a:t>each</a:t>
            </a:r>
            <a:r>
              <a:rPr lang="fr-FR"/>
              <a:t> </a:t>
            </a:r>
            <a:r>
              <a:rPr lang="fr-FR" err="1"/>
              <a:t>day</a:t>
            </a:r>
            <a:r>
              <a:rPr lang="fr-FR"/>
              <a:t>, and in case of COVID+, the key of the </a:t>
            </a:r>
            <a:r>
              <a:rPr lang="fr-FR" err="1"/>
              <a:t>day</a:t>
            </a:r>
            <a:r>
              <a:rPr lang="fr-FR"/>
              <a:t> 0 </a:t>
            </a:r>
            <a:r>
              <a:rPr lang="fr-FR" err="1"/>
              <a:t>is</a:t>
            </a:r>
            <a:r>
              <a:rPr lang="fr-FR"/>
              <a:t> </a:t>
            </a:r>
            <a:r>
              <a:rPr lang="fr-FR" err="1"/>
              <a:t>send</a:t>
            </a:r>
            <a:r>
              <a:rPr lang="fr-FR"/>
              <a:t> to </a:t>
            </a:r>
            <a:r>
              <a:rPr lang="fr-FR" err="1"/>
              <a:t>other</a:t>
            </a:r>
            <a:r>
              <a:rPr lang="fr-FR"/>
              <a:t> user. </a:t>
            </a:r>
            <a:r>
              <a:rPr lang="fr-FR" err="1"/>
              <a:t>Then</a:t>
            </a:r>
            <a:r>
              <a:rPr lang="fr-FR"/>
              <a:t> the </a:t>
            </a:r>
            <a:r>
              <a:rPr lang="fr-FR" err="1"/>
              <a:t>other</a:t>
            </a:r>
            <a:r>
              <a:rPr lang="fr-FR"/>
              <a:t> user </a:t>
            </a:r>
            <a:r>
              <a:rPr lang="fr-FR" err="1"/>
              <a:t>will</a:t>
            </a:r>
            <a:r>
              <a:rPr lang="fr-FR"/>
              <a:t> </a:t>
            </a:r>
            <a:r>
              <a:rPr lang="fr-FR" err="1"/>
              <a:t>compute</a:t>
            </a:r>
            <a:r>
              <a:rPr lang="fr-FR"/>
              <a:t> </a:t>
            </a:r>
            <a:r>
              <a:rPr lang="fr-FR" err="1"/>
              <a:t>some</a:t>
            </a:r>
            <a:r>
              <a:rPr lang="fr-FR"/>
              <a:t> </a:t>
            </a:r>
            <a:r>
              <a:rPr lang="fr-FR" err="1"/>
              <a:t>additional</a:t>
            </a:r>
            <a:r>
              <a:rPr lang="fr-FR"/>
              <a:t> key for the </a:t>
            </a:r>
            <a:r>
              <a:rPr lang="fr-FR" err="1"/>
              <a:t>next</a:t>
            </a:r>
            <a:r>
              <a:rPr lang="fr-FR"/>
              <a:t> </a:t>
            </a:r>
            <a:r>
              <a:rPr lang="fr-FR" err="1"/>
              <a:t>day</a:t>
            </a:r>
            <a:r>
              <a:rPr lang="fr-FR"/>
              <a:t> </a:t>
            </a:r>
            <a:r>
              <a:rPr lang="fr-FR" err="1"/>
              <a:t>when</a:t>
            </a:r>
            <a:r>
              <a:rPr lang="fr-FR"/>
              <a:t> the user </a:t>
            </a:r>
            <a:r>
              <a:rPr lang="fr-FR" err="1"/>
              <a:t>is</a:t>
            </a:r>
            <a:r>
              <a:rPr lang="fr-FR"/>
              <a:t> </a:t>
            </a:r>
            <a:r>
              <a:rPr lang="fr-FR" err="1"/>
              <a:t>contagious</a:t>
            </a:r>
            <a:r>
              <a:rPr lang="fr-FR"/>
              <a:t> and </a:t>
            </a:r>
            <a:r>
              <a:rPr lang="fr-FR" err="1"/>
              <a:t>will</a:t>
            </a:r>
            <a:r>
              <a:rPr lang="fr-FR"/>
              <a:t> check if </a:t>
            </a:r>
            <a:r>
              <a:rPr lang="fr-FR" err="1"/>
              <a:t>he</a:t>
            </a:r>
            <a:r>
              <a:rPr lang="fr-FR"/>
              <a:t> </a:t>
            </a:r>
            <a:r>
              <a:rPr lang="fr-FR" err="1"/>
              <a:t>received</a:t>
            </a:r>
            <a:r>
              <a:rPr lang="fr-FR"/>
              <a:t> </a:t>
            </a:r>
            <a:r>
              <a:rPr lang="fr-FR" err="1"/>
              <a:t>that</a:t>
            </a:r>
            <a:r>
              <a:rPr lang="fr-FR"/>
              <a:t> key.</a:t>
            </a:r>
            <a:r>
              <a:rPr lang="fr-LU"/>
              <a:t> If an </a:t>
            </a:r>
            <a:r>
              <a:rPr lang="fr-LU" err="1"/>
              <a:t>attacker</a:t>
            </a:r>
            <a:r>
              <a:rPr lang="fr-LU"/>
              <a:t> </a:t>
            </a:r>
            <a:r>
              <a:rPr lang="fr-LU" err="1"/>
              <a:t>is</a:t>
            </a:r>
            <a:r>
              <a:rPr lang="fr-LU"/>
              <a:t> able to </a:t>
            </a:r>
            <a:r>
              <a:rPr lang="fr-LU" err="1"/>
              <a:t>steal</a:t>
            </a:r>
            <a:r>
              <a:rPr lang="fr-LU"/>
              <a:t> the first key, </a:t>
            </a:r>
            <a:r>
              <a:rPr lang="fr-LU" err="1"/>
              <a:t>it</a:t>
            </a:r>
            <a:r>
              <a:rPr lang="fr-LU"/>
              <a:t> </a:t>
            </a:r>
            <a:r>
              <a:rPr lang="fr-LU" err="1"/>
              <a:t>could</a:t>
            </a:r>
            <a:r>
              <a:rPr lang="fr-LU"/>
              <a:t> </a:t>
            </a:r>
            <a:r>
              <a:rPr lang="fr-LU" err="1"/>
              <a:t>be</a:t>
            </a:r>
            <a:r>
              <a:rPr lang="fr-LU"/>
              <a:t> possible to </a:t>
            </a:r>
            <a:r>
              <a:rPr lang="fr-LU" err="1"/>
              <a:t>compute</a:t>
            </a:r>
            <a:r>
              <a:rPr lang="fr-LU"/>
              <a:t> all the key of </a:t>
            </a:r>
            <a:r>
              <a:rPr lang="fr-LU" err="1"/>
              <a:t>that</a:t>
            </a:r>
            <a:r>
              <a:rPr lang="fr-LU"/>
              <a:t> user for all the </a:t>
            </a:r>
            <a:r>
              <a:rPr lang="fr-LU" err="1"/>
              <a:t>days</a:t>
            </a:r>
            <a:r>
              <a:rPr lang="fr-LU"/>
              <a:t>. </a:t>
            </a:r>
            <a:r>
              <a:rPr lang="fr-LU" err="1"/>
              <a:t>With</a:t>
            </a:r>
            <a:r>
              <a:rPr lang="fr-LU"/>
              <a:t> </a:t>
            </a:r>
            <a:r>
              <a:rPr lang="fr-LU" err="1"/>
              <a:t>that</a:t>
            </a:r>
            <a:r>
              <a:rPr lang="fr-LU"/>
              <a:t> information </a:t>
            </a:r>
            <a:r>
              <a:rPr lang="fr-LU" err="1"/>
              <a:t>it</a:t>
            </a:r>
            <a:r>
              <a:rPr lang="fr-LU"/>
              <a:t> </a:t>
            </a:r>
            <a:r>
              <a:rPr lang="fr-LU" err="1"/>
              <a:t>could</a:t>
            </a:r>
            <a:r>
              <a:rPr lang="fr-LU"/>
              <a:t> </a:t>
            </a:r>
            <a:r>
              <a:rPr lang="fr-LU" err="1"/>
              <a:t>be</a:t>
            </a:r>
            <a:r>
              <a:rPr lang="fr-LU"/>
              <a:t> possible to trace </a:t>
            </a:r>
            <a:r>
              <a:rPr lang="fr-LU" err="1"/>
              <a:t>that</a:t>
            </a:r>
            <a:r>
              <a:rPr lang="fr-LU"/>
              <a:t> user.</a:t>
            </a:r>
            <a:endParaRPr lang="fr-FR"/>
          </a:p>
        </p:txBody>
      </p:sp>
    </p:spTree>
    <p:extLst>
      <p:ext uri="{BB962C8B-B14F-4D97-AF65-F5344CB8AC3E}">
        <p14:creationId xmlns:p14="http://schemas.microsoft.com/office/powerpoint/2010/main" val="23944939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14375028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2371467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LU"/>
              <a:t>Contact tracing</a:t>
            </a:r>
          </a:p>
          <a:p>
            <a:r>
              <a:rPr lang="fr-LU"/>
              <a:t>Info, stats, …</a:t>
            </a:r>
          </a:p>
          <a:p>
            <a:r>
              <a:rPr lang="fr-LU"/>
              <a:t>QrCode management</a:t>
            </a:r>
          </a:p>
          <a:p>
            <a:r>
              <a:rPr lang="fr-LU"/>
              <a:t>Check </a:t>
            </a:r>
            <a:r>
              <a:rPr lang="fr-LU" err="1"/>
              <a:t>your</a:t>
            </a:r>
            <a:r>
              <a:rPr lang="fr-LU"/>
              <a:t> </a:t>
            </a:r>
            <a:r>
              <a:rPr lang="fr-LU" err="1"/>
              <a:t>own</a:t>
            </a:r>
            <a:r>
              <a:rPr lang="fr-LU"/>
              <a:t> </a:t>
            </a:r>
            <a:r>
              <a:rPr lang="fr-LU" err="1"/>
              <a:t>certificate</a:t>
            </a:r>
            <a:r>
              <a:rPr lang="fr-LU"/>
              <a:t> for DE + </a:t>
            </a:r>
            <a:r>
              <a:rPr lang="fr-LU" err="1"/>
              <a:t>other</a:t>
            </a:r>
            <a:r>
              <a:rPr lang="fr-LU"/>
              <a:t> country</a:t>
            </a:r>
          </a:p>
          <a:p>
            <a:r>
              <a:rPr lang="fr-LU" err="1"/>
              <a:t>Private</a:t>
            </a:r>
            <a:r>
              <a:rPr lang="fr-LU"/>
              <a:t> </a:t>
            </a:r>
            <a:r>
              <a:rPr lang="fr-LU" err="1"/>
              <a:t>event</a:t>
            </a:r>
            <a:r>
              <a:rPr lang="fr-LU"/>
              <a:t> </a:t>
            </a:r>
            <a:r>
              <a:rPr lang="fr-LU" err="1"/>
              <a:t>creation</a:t>
            </a:r>
            <a:endParaRPr lang="fr-LU"/>
          </a:p>
        </p:txBody>
      </p:sp>
    </p:spTree>
    <p:extLst>
      <p:ext uri="{BB962C8B-B14F-4D97-AF65-F5344CB8AC3E}">
        <p14:creationId xmlns:p14="http://schemas.microsoft.com/office/powerpoint/2010/main" val="3878857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LU"/>
              <a:t>TAC</a:t>
            </a:r>
          </a:p>
          <a:p>
            <a:pPr lvl="1"/>
            <a:r>
              <a:rPr lang="fr-LU"/>
              <a:t>Contact tracing</a:t>
            </a:r>
          </a:p>
          <a:p>
            <a:pPr lvl="1"/>
            <a:r>
              <a:rPr lang="fr-LU"/>
              <a:t>Info, stats, …</a:t>
            </a:r>
          </a:p>
          <a:p>
            <a:pPr lvl="1"/>
            <a:r>
              <a:rPr lang="fr-LU" err="1"/>
              <a:t>QrCode</a:t>
            </a:r>
            <a:r>
              <a:rPr lang="fr-LU"/>
              <a:t> </a:t>
            </a:r>
            <a:r>
              <a:rPr lang="fr-LU" err="1"/>
              <a:t>managament</a:t>
            </a:r>
            <a:endParaRPr lang="fr-LU"/>
          </a:p>
          <a:p>
            <a:pPr lvl="1"/>
            <a:r>
              <a:rPr lang="fr-LU" err="1"/>
              <a:t>Private</a:t>
            </a:r>
            <a:r>
              <a:rPr lang="fr-LU"/>
              <a:t> </a:t>
            </a:r>
            <a:r>
              <a:rPr lang="fr-LU" err="1"/>
              <a:t>event</a:t>
            </a:r>
            <a:endParaRPr lang="fr-LU"/>
          </a:p>
          <a:p>
            <a:pPr lvl="1">
              <a:buNone/>
            </a:pPr>
            <a:endParaRPr lang="fr-LU"/>
          </a:p>
          <a:p>
            <a:r>
              <a:rPr lang="fr-LU"/>
              <a:t>TAC Verif</a:t>
            </a:r>
          </a:p>
          <a:p>
            <a:pPr lvl="1"/>
            <a:r>
              <a:rPr lang="fr-LU"/>
              <a:t>Check </a:t>
            </a:r>
            <a:r>
              <a:rPr lang="fr-LU" err="1"/>
              <a:t>any</a:t>
            </a:r>
            <a:r>
              <a:rPr lang="fr-LU"/>
              <a:t> QrCode for France</a:t>
            </a:r>
          </a:p>
          <a:p>
            <a:endParaRPr lang="fr-LU"/>
          </a:p>
        </p:txBody>
      </p:sp>
    </p:spTree>
    <p:extLst>
      <p:ext uri="{BB962C8B-B14F-4D97-AF65-F5344CB8AC3E}">
        <p14:creationId xmlns:p14="http://schemas.microsoft.com/office/powerpoint/2010/main" val="602248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FR"/>
              <a:t>Covid </a:t>
            </a:r>
            <a:r>
              <a:rPr lang="fr-FR" err="1"/>
              <a:t>safe</a:t>
            </a:r>
            <a:endParaRPr lang="fr-FR"/>
          </a:p>
          <a:p>
            <a:pPr lvl="1"/>
            <a:r>
              <a:rPr lang="fr-FR"/>
              <a:t>QrCode</a:t>
            </a:r>
          </a:p>
          <a:p>
            <a:pPr lvl="0"/>
            <a:r>
              <a:rPr lang="fr-FR"/>
              <a:t>Covid Scan</a:t>
            </a:r>
          </a:p>
          <a:p>
            <a:pPr lvl="1"/>
            <a:r>
              <a:rPr lang="fr-FR"/>
              <a:t>Check QrCode for BE</a:t>
            </a:r>
          </a:p>
          <a:p>
            <a:pPr lvl="0"/>
            <a:r>
              <a:rPr lang="fr-FR" err="1"/>
              <a:t>Coronalert</a:t>
            </a:r>
            <a:endParaRPr lang="fr-FR"/>
          </a:p>
          <a:p>
            <a:pPr lvl="1"/>
            <a:r>
              <a:rPr lang="fr-FR"/>
              <a:t>Contact tracing</a:t>
            </a:r>
          </a:p>
          <a:p>
            <a:pPr lvl="1"/>
            <a:r>
              <a:rPr lang="fr-FR"/>
              <a:t>Infos, stats, …</a:t>
            </a:r>
          </a:p>
        </p:txBody>
      </p:sp>
    </p:spTree>
    <p:extLst>
      <p:ext uri="{BB962C8B-B14F-4D97-AF65-F5344CB8AC3E}">
        <p14:creationId xmlns:p14="http://schemas.microsoft.com/office/powerpoint/2010/main" val="3431305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solidFill>
                  <a:srgbClr val="569CD6"/>
                </a:solidFill>
                <a:effectLst/>
                <a:latin typeface="Cascadia Code" panose="020B0609020000020004" pitchFamily="49" charset="0"/>
              </a:rPr>
              <a:t># Coronalert</a:t>
            </a:r>
            <a:endParaRPr lang="en-US" b="0">
              <a:solidFill>
                <a:srgbClr val="D4D4D4"/>
              </a:solidFill>
              <a:effectLst/>
              <a:latin typeface="Cascadia Code" panose="020B0609020000020004" pitchFamily="49" charset="0"/>
            </a:endParaRPr>
          </a:p>
          <a:p>
            <a:r>
              <a:rPr lang="en-US" b="0">
                <a:solidFill>
                  <a:srgbClr val="D4D4D4"/>
                </a:solidFill>
                <a:effectLst/>
                <a:latin typeface="Cascadia Code" panose="020B0609020000020004" pitchFamily="49" charset="0"/>
              </a:rPr>
              <a:t>The </a:t>
            </a:r>
            <a:r>
              <a:rPr lang="en-US" b="0" err="1">
                <a:solidFill>
                  <a:srgbClr val="D4D4D4"/>
                </a:solidFill>
                <a:effectLst/>
                <a:latin typeface="Cascadia Code" panose="020B0609020000020004" pitchFamily="49" charset="0"/>
              </a:rPr>
              <a:t>belgian</a:t>
            </a:r>
            <a:r>
              <a:rPr lang="en-US" b="0">
                <a:solidFill>
                  <a:srgbClr val="D4D4D4"/>
                </a:solidFill>
                <a:effectLst/>
                <a:latin typeface="Cascadia Code" panose="020B0609020000020004" pitchFamily="49" charset="0"/>
              </a:rPr>
              <a:t> Coronalert application is a copy of the </a:t>
            </a:r>
            <a:r>
              <a:rPr lang="en-US" b="0" err="1">
                <a:solidFill>
                  <a:srgbClr val="D4D4D4"/>
                </a:solidFill>
                <a:effectLst/>
                <a:latin typeface="Cascadia Code" panose="020B0609020000020004" pitchFamily="49" charset="0"/>
              </a:rPr>
              <a:t>german</a:t>
            </a:r>
            <a:r>
              <a:rPr lang="en-US" b="0">
                <a:solidFill>
                  <a:srgbClr val="D4D4D4"/>
                </a:solidFill>
                <a:effectLst/>
                <a:latin typeface="Cascadia Code" panose="020B0609020000020004" pitchFamily="49" charset="0"/>
              </a:rPr>
              <a:t> application Corona Warn App (CWA).</a:t>
            </a:r>
          </a:p>
          <a:p>
            <a:r>
              <a:rPr lang="en-US" b="0" err="1">
                <a:solidFill>
                  <a:srgbClr val="D4D4D4"/>
                </a:solidFill>
                <a:effectLst/>
                <a:latin typeface="Cascadia Code" panose="020B0609020000020004" pitchFamily="49" charset="0"/>
              </a:rPr>
              <a:t>Developped</a:t>
            </a:r>
            <a:r>
              <a:rPr lang="en-US" b="0">
                <a:solidFill>
                  <a:srgbClr val="D4D4D4"/>
                </a:solidFill>
                <a:effectLst/>
                <a:latin typeface="Cascadia Code" panose="020B0609020000020004" pitchFamily="49" charset="0"/>
              </a:rPr>
              <a:t> originally by SAP (DE) and overseen by cyber security experts from </a:t>
            </a:r>
            <a:r>
              <a:rPr lang="en-US" b="0" err="1">
                <a:solidFill>
                  <a:srgbClr val="D4D4D4"/>
                </a:solidFill>
                <a:effectLst/>
                <a:latin typeface="Cascadia Code" panose="020B0609020000020004" pitchFamily="49" charset="0"/>
              </a:rPr>
              <a:t>german</a:t>
            </a:r>
            <a:r>
              <a:rPr lang="en-US" b="0">
                <a:solidFill>
                  <a:srgbClr val="D4D4D4"/>
                </a:solidFill>
                <a:effectLst/>
                <a:latin typeface="Cascadia Code" panose="020B0609020000020004" pitchFamily="49" charset="0"/>
              </a:rPr>
              <a:t> research institutes. </a:t>
            </a:r>
          </a:p>
          <a:p>
            <a:br>
              <a:rPr lang="en-US" b="0">
                <a:solidFill>
                  <a:srgbClr val="D4D4D4"/>
                </a:solidFill>
                <a:effectLst/>
                <a:latin typeface="Cascadia Code" panose="020B0609020000020004" pitchFamily="49" charset="0"/>
              </a:rPr>
            </a:br>
            <a:r>
              <a:rPr lang="en-US" b="0">
                <a:solidFill>
                  <a:srgbClr val="D4D4D4"/>
                </a:solidFill>
                <a:effectLst/>
                <a:latin typeface="Cascadia Code" panose="020B0609020000020004" pitchFamily="49" charset="0"/>
              </a:rPr>
              <a:t>The App sends a push message to users if they have been exposed to a person diagnosed  with COVID-19 (at  least 15 minutes  within the  last 14 days).</a:t>
            </a:r>
          </a:p>
          <a:p>
            <a:br>
              <a:rPr lang="en-US" b="0">
                <a:solidFill>
                  <a:srgbClr val="D4D4D4"/>
                </a:solidFill>
                <a:effectLst/>
                <a:latin typeface="Cascadia Code" panose="020B0609020000020004" pitchFamily="49" charset="0"/>
              </a:rPr>
            </a:br>
            <a:r>
              <a:rPr lang="en-US" b="0">
                <a:solidFill>
                  <a:srgbClr val="D4D4D4"/>
                </a:solidFill>
                <a:effectLst/>
                <a:latin typeface="Cascadia Code" panose="020B0609020000020004" pitchFamily="49" charset="0"/>
              </a:rPr>
              <a:t>⚠ Some laboratories and public health offices aren't equipped with the digital infrastructure to send test results to the system. </a:t>
            </a:r>
          </a:p>
          <a:p>
            <a:r>
              <a:rPr lang="en-US" b="0">
                <a:solidFill>
                  <a:srgbClr val="D4D4D4"/>
                </a:solidFill>
                <a:effectLst/>
                <a:latin typeface="Cascadia Code" panose="020B0609020000020004" pitchFamily="49" charset="0"/>
              </a:rPr>
              <a:t>People who have been tested by such laboratories won't be reported in Coronalert.</a:t>
            </a:r>
          </a:p>
          <a:p>
            <a:br>
              <a:rPr lang="en-US" b="0">
                <a:solidFill>
                  <a:srgbClr val="D4D4D4"/>
                </a:solidFill>
                <a:effectLst/>
                <a:latin typeface="Cascadia Code" panose="020B0609020000020004" pitchFamily="49" charset="0"/>
              </a:rPr>
            </a:br>
            <a:r>
              <a:rPr lang="en-US" b="0">
                <a:solidFill>
                  <a:srgbClr val="D4D4D4"/>
                </a:solidFill>
                <a:effectLst/>
                <a:latin typeface="Cascadia Code" panose="020B0609020000020004" pitchFamily="49" charset="0"/>
              </a:rPr>
              <a:t>Method:</a:t>
            </a:r>
          </a:p>
          <a:p>
            <a:r>
              <a:rPr lang="en-US" b="0">
                <a:solidFill>
                  <a:srgbClr val="D4D4D4"/>
                </a:solidFill>
                <a:effectLst/>
                <a:latin typeface="Cascadia Code" panose="020B0609020000020004" pitchFamily="49" charset="0"/>
              </a:rPr>
              <a:t>Pseudonymized data and Bluetooth technology. </a:t>
            </a:r>
          </a:p>
          <a:p>
            <a:r>
              <a:rPr lang="en-US" b="0">
                <a:solidFill>
                  <a:srgbClr val="6796E6"/>
                </a:solidFill>
                <a:effectLst/>
                <a:latin typeface="Cascadia Code" panose="020B0609020000020004" pitchFamily="49" charset="0"/>
              </a:rPr>
              <a:t>-</a:t>
            </a:r>
            <a:r>
              <a:rPr lang="en-US" b="0">
                <a:solidFill>
                  <a:srgbClr val="D4D4D4"/>
                </a:solidFill>
                <a:effectLst/>
                <a:latin typeface="Cascadia Code" panose="020B0609020000020004" pitchFamily="49" charset="0"/>
              </a:rPr>
              <a:t> NO GEOLOCATION</a:t>
            </a:r>
          </a:p>
          <a:p>
            <a:r>
              <a:rPr lang="en-US" b="0">
                <a:solidFill>
                  <a:srgbClr val="6796E6"/>
                </a:solidFill>
                <a:effectLst/>
                <a:latin typeface="Cascadia Code" panose="020B0609020000020004" pitchFamily="49" charset="0"/>
              </a:rPr>
              <a:t>-</a:t>
            </a:r>
            <a:r>
              <a:rPr lang="en-US" b="0">
                <a:solidFill>
                  <a:srgbClr val="D4D4D4"/>
                </a:solidFill>
                <a:effectLst/>
                <a:latin typeface="Cascadia Code" panose="020B0609020000020004" pitchFamily="49" charset="0"/>
              </a:rPr>
              <a:t> NO CONTACT ACCESS</a:t>
            </a:r>
          </a:p>
          <a:p>
            <a:endParaRPr lang="en-US" b="0">
              <a:solidFill>
                <a:srgbClr val="D4D4D4"/>
              </a:solidFill>
              <a:effectLst/>
              <a:latin typeface="Cascadia Code" panose="020B0609020000020004" pitchFamily="49" charset="0"/>
            </a:endParaRPr>
          </a:p>
          <a:p>
            <a:r>
              <a:rPr lang="en-US"/>
              <a:t>- No personal information is transmitted: When you encounter another person using the app, your smartphones only exchange random IDs. They measure the time and distance of an encounter, but do not allow to identify persons or find out locations.</a:t>
            </a:r>
            <a:endParaRPr lang="en-US" b="0">
              <a:solidFill>
                <a:srgbClr val="D4D4D4"/>
              </a:solidFill>
              <a:effectLst/>
              <a:latin typeface="Cascadia Code" panose="020B0609020000020004" pitchFamily="49" charset="0"/>
            </a:endParaRPr>
          </a:p>
          <a:p>
            <a:endParaRPr lang="en-BE"/>
          </a:p>
        </p:txBody>
      </p:sp>
    </p:spTree>
    <p:extLst>
      <p:ext uri="{BB962C8B-B14F-4D97-AF65-F5344CB8AC3E}">
        <p14:creationId xmlns:p14="http://schemas.microsoft.com/office/powerpoint/2010/main" val="69864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1913641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BE"/>
          </a:p>
        </p:txBody>
      </p:sp>
    </p:spTree>
    <p:extLst>
      <p:ext uri="{BB962C8B-B14F-4D97-AF65-F5344CB8AC3E}">
        <p14:creationId xmlns:p14="http://schemas.microsoft.com/office/powerpoint/2010/main" val="2896242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954C7F-FC58-D04A-97AB-7AC6C7FAEB27}"/>
              </a:ext>
            </a:extLst>
          </p:cNvPr>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endParaRPr lang="en-US"/>
          </a:p>
        </p:txBody>
      </p:sp>
      <p:sp>
        <p:nvSpPr>
          <p:cNvPr id="3" name="Sous-titre 2">
            <a:extLst>
              <a:ext uri="{FF2B5EF4-FFF2-40B4-BE49-F238E27FC236}">
                <a16:creationId xmlns:a16="http://schemas.microsoft.com/office/drawing/2014/main" id="{450AA313-E7EB-5B4D-A967-E52E8ADABCE1}"/>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739335DD-C6C9-DB45-BD4D-B42940A6B294}"/>
              </a:ext>
            </a:extLst>
          </p:cNvPr>
          <p:cNvSpPr>
            <a:spLocks noGrp="1"/>
          </p:cNvSpPr>
          <p:nvPr>
            <p:ph type="dt" sz="half" idx="10"/>
          </p:nvPr>
        </p:nvSpPr>
        <p:spPr/>
        <p:txBody>
          <a:bodyPr/>
          <a:lstStyle/>
          <a:p>
            <a:fld id="{0910E47C-4CF1-8846-A8AF-876DEF1FA02C}" type="datetimeFigureOut">
              <a:rPr lang="en-US" smtClean="0"/>
              <a:t>10/5/2021</a:t>
            </a:fld>
            <a:endParaRPr lang="en-US"/>
          </a:p>
        </p:txBody>
      </p:sp>
      <p:sp>
        <p:nvSpPr>
          <p:cNvPr id="5" name="Espace réservé du pied de page 4">
            <a:extLst>
              <a:ext uri="{FF2B5EF4-FFF2-40B4-BE49-F238E27FC236}">
                <a16:creationId xmlns:a16="http://schemas.microsoft.com/office/drawing/2014/main" id="{B58A577C-DA18-D548-80C6-659DDF3E5BE9}"/>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A982AA06-52A5-9140-BB5C-47CFE568FBEE}"/>
              </a:ext>
            </a:extLst>
          </p:cNvPr>
          <p:cNvSpPr>
            <a:spLocks noGrp="1"/>
          </p:cNvSpPr>
          <p:nvPr>
            <p:ph type="sldNum" sz="quarter" idx="12"/>
          </p:nvPr>
        </p:nvSpPr>
        <p:spPr/>
        <p:txBody>
          <a:body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225505504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 1 column">
    <p:spTree>
      <p:nvGrpSpPr>
        <p:cNvPr id="1" name="Shape 21"/>
        <p:cNvGrpSpPr/>
        <p:nvPr/>
      </p:nvGrpSpPr>
      <p:grpSpPr>
        <a:xfrm>
          <a:off x="0" y="0"/>
          <a:ext cx="0" cy="0"/>
          <a:chOff x="0" y="0"/>
          <a:chExt cx="0" cy="0"/>
        </a:xfrm>
      </p:grpSpPr>
      <p:sp>
        <p:nvSpPr>
          <p:cNvPr id="24" name="Shape 24"/>
          <p:cNvSpPr txBox="1">
            <a:spLocks noGrp="1"/>
          </p:cNvSpPr>
          <p:nvPr>
            <p:ph type="body" idx="1"/>
          </p:nvPr>
        </p:nvSpPr>
        <p:spPr>
          <a:xfrm>
            <a:off x="3880848" y="1837999"/>
            <a:ext cx="4813482" cy="2605200"/>
          </a:xfrm>
          <a:prstGeom prst="rect">
            <a:avLst/>
          </a:prstGeom>
        </p:spPr>
        <p:txBody>
          <a:bodyPr wrap="square" lIns="91425" tIns="91425" rIns="91425" bIns="91425" anchor="t" anchorCtr="0">
            <a:normAutofit/>
          </a:bodyPr>
          <a:lstStyle>
            <a:lvl1pPr lvl="0">
              <a:spcBef>
                <a:spcPts val="0"/>
              </a:spcBef>
              <a:buSzPts val="1800"/>
              <a:buChar char="×"/>
              <a:defRPr sz="1200">
                <a:latin typeface="Helvetica" pitchFamily="2" charset="0"/>
              </a:defRPr>
            </a:lvl1pPr>
            <a:lvl2pPr lvl="1">
              <a:spcBef>
                <a:spcPts val="0"/>
              </a:spcBef>
              <a:buSzPts val="1800"/>
              <a:buChar char="×"/>
              <a:defRPr/>
            </a:lvl2pPr>
            <a:lvl3pPr lvl="2">
              <a:spcBef>
                <a:spcPts val="0"/>
              </a:spcBef>
              <a:buSzPts val="1800"/>
              <a:buChar char="×"/>
              <a:defRPr/>
            </a:lvl3pPr>
            <a:lvl4pPr lvl="3">
              <a:spcBef>
                <a:spcPts val="0"/>
              </a:spcBef>
              <a:buSzPts val="1800"/>
              <a:buChar char="×"/>
              <a:defRPr/>
            </a:lvl4pPr>
            <a:lvl5pPr lvl="4">
              <a:spcBef>
                <a:spcPts val="0"/>
              </a:spcBef>
              <a:buSzPts val="1800"/>
              <a:buChar char="○"/>
              <a:defRPr/>
            </a:lvl5pPr>
            <a:lvl6pPr lvl="5">
              <a:spcBef>
                <a:spcPts val="0"/>
              </a:spcBef>
              <a:buSzPts val="1800"/>
              <a:buChar char="■"/>
              <a:defRPr/>
            </a:lvl6pPr>
            <a:lvl7pPr lvl="6">
              <a:spcBef>
                <a:spcPts val="0"/>
              </a:spcBef>
              <a:buSzPts val="1800"/>
              <a:buChar char="●"/>
              <a:defRPr/>
            </a:lvl7pPr>
            <a:lvl8pPr lvl="7">
              <a:spcBef>
                <a:spcPts val="0"/>
              </a:spcBef>
              <a:buSzPts val="1800"/>
              <a:buChar char="○"/>
              <a:defRPr/>
            </a:lvl8pPr>
            <a:lvl9pPr lvl="8">
              <a:spcBef>
                <a:spcPts val="0"/>
              </a:spcBef>
              <a:buSzPts val="1800"/>
              <a:buChar char="■"/>
              <a:defRPr/>
            </a:lvl9pPr>
          </a:lstStyle>
          <a:p>
            <a:endParaRPr/>
          </a:p>
        </p:txBody>
      </p:sp>
      <p:sp>
        <p:nvSpPr>
          <p:cNvPr id="25" name="Shape 25"/>
          <p:cNvSpPr txBox="1">
            <a:spLocks noGrp="1"/>
          </p:cNvSpPr>
          <p:nvPr>
            <p:ph type="sldNum" idx="12"/>
          </p:nvPr>
        </p:nvSpPr>
        <p:spPr>
          <a:xfrm>
            <a:off x="8542438" y="4749900"/>
            <a:ext cx="548700" cy="393600"/>
          </a:xfrm>
          <a:prstGeom prst="rect">
            <a:avLst/>
          </a:prstGeom>
        </p:spPr>
        <p:txBody>
          <a:bodyPr wrap="square" lIns="91425" tIns="91425" rIns="91425" bIns="91425" anchor="ctr" anchorCtr="0">
            <a:noAutofit/>
          </a:bodyPr>
          <a:lstStyle>
            <a:lvl1pPr>
              <a:defRPr sz="1000">
                <a:solidFill>
                  <a:srgbClr val="7269AD"/>
                </a:solidFill>
              </a:defRPr>
            </a:lvl1pPr>
          </a:lstStyle>
          <a:p>
            <a:r>
              <a:rPr lang="en">
                <a:solidFill>
                  <a:schemeClr val="bg1">
                    <a:lumMod val="65000"/>
                  </a:schemeClr>
                </a:solidFill>
              </a:rPr>
              <a:t>0</a:t>
            </a:r>
            <a:r>
              <a:rPr lang="en"/>
              <a:t> </a:t>
            </a:r>
            <a:fld id="{00000000-1234-1234-1234-123412341234}" type="slidenum">
              <a:rPr lang="en" smtClean="0"/>
              <a:pPr/>
              <a:t>‹#›</a:t>
            </a:fld>
            <a:endParaRPr lang="en"/>
          </a:p>
        </p:txBody>
      </p:sp>
      <p:pic>
        <p:nvPicPr>
          <p:cNvPr id="6" name="Imag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7086" y="116827"/>
            <a:ext cx="1416818" cy="149835"/>
          </a:xfrm>
          <a:prstGeom prst="rect">
            <a:avLst/>
          </a:prstGeom>
        </p:spPr>
      </p:pic>
      <p:sp>
        <p:nvSpPr>
          <p:cNvPr id="7" name="Rectangle 6">
            <a:extLst>
              <a:ext uri="{FF2B5EF4-FFF2-40B4-BE49-F238E27FC236}">
                <a16:creationId xmlns:a16="http://schemas.microsoft.com/office/drawing/2014/main" id="{C97CF03F-165D-834F-8C43-BB76DBDFB40A}"/>
              </a:ext>
            </a:extLst>
          </p:cNvPr>
          <p:cNvSpPr/>
          <p:nvPr userDrawn="1"/>
        </p:nvSpPr>
        <p:spPr>
          <a:xfrm>
            <a:off x="0" y="4737468"/>
            <a:ext cx="9143999" cy="40603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8" name="Rectangle 7">
            <a:extLst>
              <a:ext uri="{FF2B5EF4-FFF2-40B4-BE49-F238E27FC236}">
                <a16:creationId xmlns:a16="http://schemas.microsoft.com/office/drawing/2014/main" id="{05861D97-584E-284E-AE99-0C796662E9EE}"/>
              </a:ext>
            </a:extLst>
          </p:cNvPr>
          <p:cNvSpPr/>
          <p:nvPr userDrawn="1"/>
        </p:nvSpPr>
        <p:spPr>
          <a:xfrm>
            <a:off x="3432002" y="-7893"/>
            <a:ext cx="5711997" cy="155162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11" name="Rectangle 10">
            <a:extLst>
              <a:ext uri="{FF2B5EF4-FFF2-40B4-BE49-F238E27FC236}">
                <a16:creationId xmlns:a16="http://schemas.microsoft.com/office/drawing/2014/main" id="{168CDE1D-C9E9-C146-ADF3-DDF58790F616}"/>
              </a:ext>
            </a:extLst>
          </p:cNvPr>
          <p:cNvSpPr/>
          <p:nvPr userDrawn="1"/>
        </p:nvSpPr>
        <p:spPr>
          <a:xfrm>
            <a:off x="3487948" y="4862270"/>
            <a:ext cx="2443298" cy="200055"/>
          </a:xfrm>
          <a:prstGeom prst="rect">
            <a:avLst/>
          </a:prstGeom>
        </p:spPr>
        <p:txBody>
          <a:bodyPr wrap="none">
            <a:spAutoFit/>
          </a:bodyPr>
          <a:lstStyle/>
          <a:p>
            <a:r>
              <a:rPr lang="en-US" sz="700">
                <a:solidFill>
                  <a:srgbClr val="9B79AD"/>
                </a:solidFill>
                <a:latin typeface="Helvetica" pitchFamily="2" charset="0"/>
              </a:rPr>
              <a:t>Your first call when it comes to cybersecurity and privacy</a:t>
            </a:r>
          </a:p>
        </p:txBody>
      </p:sp>
      <p:pic>
        <p:nvPicPr>
          <p:cNvPr id="12" name="Picture 24">
            <a:extLst>
              <a:ext uri="{FF2B5EF4-FFF2-40B4-BE49-F238E27FC236}">
                <a16:creationId xmlns:a16="http://schemas.microsoft.com/office/drawing/2014/main" id="{08768310-B923-4748-8C81-4B0EA05B9F4F}"/>
              </a:ext>
            </a:extLst>
          </p:cNvPr>
          <p:cNvPicPr>
            <a:picLocks noChangeAspect="1"/>
          </p:cNvPicPr>
          <p:nvPr userDrawn="1"/>
        </p:nvPicPr>
        <p:blipFill>
          <a:blip r:embed="rId3">
            <a:duotone>
              <a:schemeClr val="bg2">
                <a:shade val="45000"/>
                <a:satMod val="135000"/>
              </a:schemeClr>
              <a:prstClr val="white"/>
            </a:duotone>
          </a:blip>
          <a:stretch>
            <a:fillRect/>
          </a:stretch>
        </p:blipFill>
        <p:spPr>
          <a:xfrm>
            <a:off x="5032349" y="1180379"/>
            <a:ext cx="2191824" cy="276638"/>
          </a:xfrm>
          <a:prstGeom prst="rect">
            <a:avLst/>
          </a:prstGeom>
        </p:spPr>
      </p:pic>
      <p:pic>
        <p:nvPicPr>
          <p:cNvPr id="14" name="Picture 25">
            <a:extLst>
              <a:ext uri="{FF2B5EF4-FFF2-40B4-BE49-F238E27FC236}">
                <a16:creationId xmlns:a16="http://schemas.microsoft.com/office/drawing/2014/main" id="{62189F76-5060-5341-83CD-53047D7BA14E}"/>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6599" r="11532"/>
          <a:stretch/>
        </p:blipFill>
        <p:spPr>
          <a:xfrm>
            <a:off x="0" y="1549186"/>
            <a:ext cx="3431179" cy="3182826"/>
          </a:xfrm>
          <a:prstGeom prst="rect">
            <a:avLst/>
          </a:prstGeom>
        </p:spPr>
      </p:pic>
      <p:pic>
        <p:nvPicPr>
          <p:cNvPr id="15" name="Content Placeholder 4">
            <a:extLst>
              <a:ext uri="{FF2B5EF4-FFF2-40B4-BE49-F238E27FC236}">
                <a16:creationId xmlns:a16="http://schemas.microsoft.com/office/drawing/2014/main" id="{2553539A-796C-7E40-A90C-5888B994CD5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5173" y="4926649"/>
            <a:ext cx="928494" cy="122254"/>
          </a:xfrm>
          <a:prstGeom prst="rect">
            <a:avLst/>
          </a:prstGeom>
        </p:spPr>
      </p:pic>
    </p:spTree>
    <p:extLst>
      <p:ext uri="{BB962C8B-B14F-4D97-AF65-F5344CB8AC3E}">
        <p14:creationId xmlns:p14="http://schemas.microsoft.com/office/powerpoint/2010/main" val="401207439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067A258-1CDE-9B46-B0EE-5C8A9AA8CCF6}"/>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D584C86-DFC8-D245-A45B-563CDBE66AE8}"/>
              </a:ext>
            </a:extLst>
          </p:cNvPr>
          <p:cNvSpPr>
            <a:spLocks noGrp="1"/>
          </p:cNvSpPr>
          <p:nvPr>
            <p:ph idx="1"/>
          </p:nvPr>
        </p:nvSpPr>
        <p:spPr/>
        <p:txBody>
          <a:bodyPr/>
          <a:lstStyle/>
          <a:p>
            <a:r>
              <a:rPr lang="fr-FR"/>
              <a:t>Modifier les styles du texte du masque
Deuxième niveau
Troisième niveau
Quatrième niveau
Cinquième niveau</a:t>
            </a:r>
            <a:endParaRPr lang="en-US"/>
          </a:p>
        </p:txBody>
      </p:sp>
      <p:sp>
        <p:nvSpPr>
          <p:cNvPr id="4" name="Espace réservé de la date 3">
            <a:extLst>
              <a:ext uri="{FF2B5EF4-FFF2-40B4-BE49-F238E27FC236}">
                <a16:creationId xmlns:a16="http://schemas.microsoft.com/office/drawing/2014/main" id="{28729495-282B-834A-8F3F-3B0A9B38A6B0}"/>
              </a:ext>
            </a:extLst>
          </p:cNvPr>
          <p:cNvSpPr>
            <a:spLocks noGrp="1"/>
          </p:cNvSpPr>
          <p:nvPr>
            <p:ph type="dt" sz="half" idx="10"/>
          </p:nvPr>
        </p:nvSpPr>
        <p:spPr/>
        <p:txBody>
          <a:bodyPr/>
          <a:lstStyle/>
          <a:p>
            <a:fld id="{0910E47C-4CF1-8846-A8AF-876DEF1FA02C}" type="datetimeFigureOut">
              <a:rPr lang="en-US" smtClean="0"/>
              <a:t>10/5/2021</a:t>
            </a:fld>
            <a:endParaRPr lang="en-US"/>
          </a:p>
        </p:txBody>
      </p:sp>
      <p:sp>
        <p:nvSpPr>
          <p:cNvPr id="5" name="Espace réservé du pied de page 4">
            <a:extLst>
              <a:ext uri="{FF2B5EF4-FFF2-40B4-BE49-F238E27FC236}">
                <a16:creationId xmlns:a16="http://schemas.microsoft.com/office/drawing/2014/main" id="{2F91402D-D707-4C4D-BB0E-E682928845F6}"/>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42AC1232-A88E-2849-8992-37BB484B43B0}"/>
              </a:ext>
            </a:extLst>
          </p:cNvPr>
          <p:cNvSpPr>
            <a:spLocks noGrp="1"/>
          </p:cNvSpPr>
          <p:nvPr>
            <p:ph type="sldNum" sz="quarter" idx="12"/>
          </p:nvPr>
        </p:nvSpPr>
        <p:spPr/>
        <p:txBody>
          <a:body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126727985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B45480-6760-E142-AC60-DC6D52CC0C52}"/>
              </a:ext>
            </a:extLst>
          </p:cNvPr>
          <p:cNvSpPr>
            <a:spLocks noGrp="1"/>
          </p:cNvSpPr>
          <p:nvPr>
            <p:ph type="title"/>
          </p:nvPr>
        </p:nvSpPr>
        <p:spPr>
          <a:xfrm>
            <a:off x="623888" y="1282304"/>
            <a:ext cx="7886700" cy="2139553"/>
          </a:xfrm>
        </p:spPr>
        <p:txBody>
          <a:bodyPr anchor="b"/>
          <a:lstStyle>
            <a:lvl1pPr>
              <a:defRPr sz="45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BD0510EB-7200-7446-AFA2-8B5F7C3BD280}"/>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fr-FR"/>
              <a:t>Modifier les styles du texte du masque
Deuxième niveau
Troisième niveau
Quatrième niveau
Cinquième niveau</a:t>
            </a:r>
            <a:endParaRPr lang="en-US"/>
          </a:p>
        </p:txBody>
      </p:sp>
      <p:sp>
        <p:nvSpPr>
          <p:cNvPr id="4" name="Espace réservé de la date 3">
            <a:extLst>
              <a:ext uri="{FF2B5EF4-FFF2-40B4-BE49-F238E27FC236}">
                <a16:creationId xmlns:a16="http://schemas.microsoft.com/office/drawing/2014/main" id="{95D84E47-EA78-C741-9B35-A9746F6BAC18}"/>
              </a:ext>
            </a:extLst>
          </p:cNvPr>
          <p:cNvSpPr>
            <a:spLocks noGrp="1"/>
          </p:cNvSpPr>
          <p:nvPr>
            <p:ph type="dt" sz="half" idx="10"/>
          </p:nvPr>
        </p:nvSpPr>
        <p:spPr/>
        <p:txBody>
          <a:bodyPr/>
          <a:lstStyle/>
          <a:p>
            <a:fld id="{0910E47C-4CF1-8846-A8AF-876DEF1FA02C}" type="datetimeFigureOut">
              <a:rPr lang="en-US" smtClean="0"/>
              <a:t>10/5/2021</a:t>
            </a:fld>
            <a:endParaRPr lang="en-US"/>
          </a:p>
        </p:txBody>
      </p:sp>
      <p:sp>
        <p:nvSpPr>
          <p:cNvPr id="5" name="Espace réservé du pied de page 4">
            <a:extLst>
              <a:ext uri="{FF2B5EF4-FFF2-40B4-BE49-F238E27FC236}">
                <a16:creationId xmlns:a16="http://schemas.microsoft.com/office/drawing/2014/main" id="{067B9D3A-9995-414E-8E9B-CD23E600CAC2}"/>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0F857B05-BF25-D147-8744-C3C545C33462}"/>
              </a:ext>
            </a:extLst>
          </p:cNvPr>
          <p:cNvSpPr>
            <a:spLocks noGrp="1"/>
          </p:cNvSpPr>
          <p:nvPr>
            <p:ph type="sldNum" sz="quarter" idx="12"/>
          </p:nvPr>
        </p:nvSpPr>
        <p:spPr/>
        <p:txBody>
          <a:body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72083200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0E0F87-8AAD-D34F-93B1-2379924C5FC2}"/>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07890E7D-57FB-674F-AD77-34FDD2220976}"/>
              </a:ext>
            </a:extLst>
          </p:cNvPr>
          <p:cNvSpPr>
            <a:spLocks noGrp="1"/>
          </p:cNvSpPr>
          <p:nvPr>
            <p:ph sz="half" idx="1"/>
          </p:nvPr>
        </p:nvSpPr>
        <p:spPr>
          <a:xfrm>
            <a:off x="628650" y="1369219"/>
            <a:ext cx="3886200" cy="3263504"/>
          </a:xfrm>
        </p:spPr>
        <p:txBody>
          <a:bodyPr/>
          <a:lstStyle/>
          <a:p>
            <a:r>
              <a:rPr lang="fr-FR"/>
              <a:t>Modifier les styles du texte du masque
Deuxième niveau
Troisième niveau
Quatrième niveau
Cinquième niveau</a:t>
            </a:r>
            <a:endParaRPr lang="en-US"/>
          </a:p>
        </p:txBody>
      </p:sp>
      <p:sp>
        <p:nvSpPr>
          <p:cNvPr id="4" name="Espace réservé du contenu 3">
            <a:extLst>
              <a:ext uri="{FF2B5EF4-FFF2-40B4-BE49-F238E27FC236}">
                <a16:creationId xmlns:a16="http://schemas.microsoft.com/office/drawing/2014/main" id="{3AAA7FBA-2203-384F-A0A1-3D903BAD0B29}"/>
              </a:ext>
            </a:extLst>
          </p:cNvPr>
          <p:cNvSpPr>
            <a:spLocks noGrp="1"/>
          </p:cNvSpPr>
          <p:nvPr>
            <p:ph sz="half" idx="2"/>
          </p:nvPr>
        </p:nvSpPr>
        <p:spPr>
          <a:xfrm>
            <a:off x="4629150" y="1369219"/>
            <a:ext cx="3886200" cy="3263504"/>
          </a:xfrm>
        </p:spPr>
        <p:txBody>
          <a:bodyPr/>
          <a:lstStyle/>
          <a:p>
            <a:r>
              <a:rPr lang="fr-FR"/>
              <a:t>Modifier les styles du texte du masque
Deuxième niveau
Troisième niveau
Quatrième niveau
Cinquième niveau</a:t>
            </a:r>
            <a:endParaRPr lang="en-US"/>
          </a:p>
        </p:txBody>
      </p:sp>
      <p:sp>
        <p:nvSpPr>
          <p:cNvPr id="5" name="Espace réservé de la date 4">
            <a:extLst>
              <a:ext uri="{FF2B5EF4-FFF2-40B4-BE49-F238E27FC236}">
                <a16:creationId xmlns:a16="http://schemas.microsoft.com/office/drawing/2014/main" id="{4D9C5FA5-5793-F842-85A4-2476F04E4A67}"/>
              </a:ext>
            </a:extLst>
          </p:cNvPr>
          <p:cNvSpPr>
            <a:spLocks noGrp="1"/>
          </p:cNvSpPr>
          <p:nvPr>
            <p:ph type="dt" sz="half" idx="10"/>
          </p:nvPr>
        </p:nvSpPr>
        <p:spPr/>
        <p:txBody>
          <a:bodyPr/>
          <a:lstStyle/>
          <a:p>
            <a:fld id="{0910E47C-4CF1-8846-A8AF-876DEF1FA02C}" type="datetimeFigureOut">
              <a:rPr lang="en-US" smtClean="0"/>
              <a:t>10/5/2021</a:t>
            </a:fld>
            <a:endParaRPr lang="en-US"/>
          </a:p>
        </p:txBody>
      </p:sp>
      <p:sp>
        <p:nvSpPr>
          <p:cNvPr id="6" name="Espace réservé du pied de page 5">
            <a:extLst>
              <a:ext uri="{FF2B5EF4-FFF2-40B4-BE49-F238E27FC236}">
                <a16:creationId xmlns:a16="http://schemas.microsoft.com/office/drawing/2014/main" id="{0351755E-F4A2-B34C-8A9F-C44640FD77D9}"/>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1BF6DB4B-C922-D44D-841C-78E48296DBFF}"/>
              </a:ext>
            </a:extLst>
          </p:cNvPr>
          <p:cNvSpPr>
            <a:spLocks noGrp="1"/>
          </p:cNvSpPr>
          <p:nvPr>
            <p:ph type="sldNum" sz="quarter" idx="12"/>
          </p:nvPr>
        </p:nvSpPr>
        <p:spPr/>
        <p:txBody>
          <a:body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48056924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624306-19A0-7D4E-B106-6AE6E46F4247}"/>
              </a:ext>
            </a:extLst>
          </p:cNvPr>
          <p:cNvSpPr>
            <a:spLocks noGrp="1"/>
          </p:cNvSpPr>
          <p:nvPr>
            <p:ph type="title"/>
          </p:nvPr>
        </p:nvSpPr>
        <p:spPr>
          <a:xfrm>
            <a:off x="629841" y="273844"/>
            <a:ext cx="7886700" cy="994172"/>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2E4D3D2A-2815-B240-9812-9E2B21CBA10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fr-FR"/>
              <a:t>Modifier les styles du texte du masque
Deuxième niveau
Troisième niveau
Quatrième niveau
Cinquième niveau</a:t>
            </a:r>
            <a:endParaRPr lang="en-US"/>
          </a:p>
        </p:txBody>
      </p:sp>
      <p:sp>
        <p:nvSpPr>
          <p:cNvPr id="4" name="Espace réservé du contenu 3">
            <a:extLst>
              <a:ext uri="{FF2B5EF4-FFF2-40B4-BE49-F238E27FC236}">
                <a16:creationId xmlns:a16="http://schemas.microsoft.com/office/drawing/2014/main" id="{91689839-53F1-0541-A6A7-0B7C454AB1EF}"/>
              </a:ext>
            </a:extLst>
          </p:cNvPr>
          <p:cNvSpPr>
            <a:spLocks noGrp="1"/>
          </p:cNvSpPr>
          <p:nvPr>
            <p:ph sz="half" idx="2"/>
          </p:nvPr>
        </p:nvSpPr>
        <p:spPr>
          <a:xfrm>
            <a:off x="629842" y="1878806"/>
            <a:ext cx="3868340" cy="2763441"/>
          </a:xfrm>
        </p:spPr>
        <p:txBody>
          <a:bodyPr/>
          <a:lstStyle/>
          <a:p>
            <a:r>
              <a:rPr lang="fr-FR"/>
              <a:t>Modifier les styles du texte du masque
Deuxième niveau
Troisième niveau
Quatrième niveau
Cinquième niveau</a:t>
            </a:r>
            <a:endParaRPr lang="en-US"/>
          </a:p>
        </p:txBody>
      </p:sp>
      <p:sp>
        <p:nvSpPr>
          <p:cNvPr id="5" name="Espace réservé du texte 4">
            <a:extLst>
              <a:ext uri="{FF2B5EF4-FFF2-40B4-BE49-F238E27FC236}">
                <a16:creationId xmlns:a16="http://schemas.microsoft.com/office/drawing/2014/main" id="{9D036B86-79F8-924B-87E6-9BFE18433E12}"/>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fr-FR"/>
              <a:t>Modifier les styles du texte du masque
Deuxième niveau
Troisième niveau
Quatrième niveau
Cinquième niveau</a:t>
            </a:r>
            <a:endParaRPr lang="en-US"/>
          </a:p>
        </p:txBody>
      </p:sp>
      <p:sp>
        <p:nvSpPr>
          <p:cNvPr id="6" name="Espace réservé du contenu 5">
            <a:extLst>
              <a:ext uri="{FF2B5EF4-FFF2-40B4-BE49-F238E27FC236}">
                <a16:creationId xmlns:a16="http://schemas.microsoft.com/office/drawing/2014/main" id="{6C0BCE9A-AC1E-CE4F-BBB1-ADC273497A30}"/>
              </a:ext>
            </a:extLst>
          </p:cNvPr>
          <p:cNvSpPr>
            <a:spLocks noGrp="1"/>
          </p:cNvSpPr>
          <p:nvPr>
            <p:ph sz="quarter" idx="4"/>
          </p:nvPr>
        </p:nvSpPr>
        <p:spPr>
          <a:xfrm>
            <a:off x="4629150" y="1878806"/>
            <a:ext cx="3887391" cy="2763441"/>
          </a:xfrm>
        </p:spPr>
        <p:txBody>
          <a:bodyPr/>
          <a:lstStyle/>
          <a:p>
            <a:r>
              <a:rPr lang="fr-FR"/>
              <a:t>Modifier les styles du texte du masque
Deuxième niveau
Troisième niveau
Quatrième niveau
Cinquième niveau</a:t>
            </a:r>
            <a:endParaRPr lang="en-US"/>
          </a:p>
        </p:txBody>
      </p:sp>
      <p:sp>
        <p:nvSpPr>
          <p:cNvPr id="7" name="Espace réservé de la date 6">
            <a:extLst>
              <a:ext uri="{FF2B5EF4-FFF2-40B4-BE49-F238E27FC236}">
                <a16:creationId xmlns:a16="http://schemas.microsoft.com/office/drawing/2014/main" id="{E65CFA8E-50AE-B341-BBBC-B27F90C24E52}"/>
              </a:ext>
            </a:extLst>
          </p:cNvPr>
          <p:cNvSpPr>
            <a:spLocks noGrp="1"/>
          </p:cNvSpPr>
          <p:nvPr>
            <p:ph type="dt" sz="half" idx="10"/>
          </p:nvPr>
        </p:nvSpPr>
        <p:spPr/>
        <p:txBody>
          <a:bodyPr/>
          <a:lstStyle/>
          <a:p>
            <a:fld id="{0910E47C-4CF1-8846-A8AF-876DEF1FA02C}" type="datetimeFigureOut">
              <a:rPr lang="en-US" smtClean="0"/>
              <a:t>10/5/2021</a:t>
            </a:fld>
            <a:endParaRPr lang="en-US"/>
          </a:p>
        </p:txBody>
      </p:sp>
      <p:sp>
        <p:nvSpPr>
          <p:cNvPr id="8" name="Espace réservé du pied de page 7">
            <a:extLst>
              <a:ext uri="{FF2B5EF4-FFF2-40B4-BE49-F238E27FC236}">
                <a16:creationId xmlns:a16="http://schemas.microsoft.com/office/drawing/2014/main" id="{3160121E-34FA-9A4E-8D0B-B970B346D65A}"/>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E211889D-4FE7-754E-8428-4538EAE7ACF2}"/>
              </a:ext>
            </a:extLst>
          </p:cNvPr>
          <p:cNvSpPr>
            <a:spLocks noGrp="1"/>
          </p:cNvSpPr>
          <p:nvPr>
            <p:ph type="sldNum" sz="quarter" idx="12"/>
          </p:nvPr>
        </p:nvSpPr>
        <p:spPr/>
        <p:txBody>
          <a:body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345677432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249F55C-0573-DD49-B92C-C14860BB17BF}"/>
              </a:ext>
            </a:extLst>
          </p:cNvPr>
          <p:cNvSpPr/>
          <p:nvPr userDrawn="1"/>
        </p:nvSpPr>
        <p:spPr>
          <a:xfrm>
            <a:off x="0" y="1686475"/>
            <a:ext cx="3487948" cy="305099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7" name="Shape 25">
            <a:extLst>
              <a:ext uri="{FF2B5EF4-FFF2-40B4-BE49-F238E27FC236}">
                <a16:creationId xmlns:a16="http://schemas.microsoft.com/office/drawing/2014/main" id="{06464BF6-B8F5-ED47-A909-C78A63D06BF1}"/>
              </a:ext>
            </a:extLst>
          </p:cNvPr>
          <p:cNvSpPr txBox="1">
            <a:spLocks/>
          </p:cNvSpPr>
          <p:nvPr userDrawn="1"/>
        </p:nvSpPr>
        <p:spPr>
          <a:xfrm>
            <a:off x="8542438" y="4749900"/>
            <a:ext cx="548700" cy="393600"/>
          </a:xfrm>
          <a:prstGeom prst="rect">
            <a:avLst/>
          </a:prstGeom>
        </p:spPr>
        <p:txBody>
          <a:bodyPr vert="horz" wrap="square" lIns="91425" tIns="91425" rIns="91425" bIns="91425"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None/>
              <a:defRPr sz="1000" b="0" i="0" u="none" strike="noStrike" cap="none">
                <a:solidFill>
                  <a:srgbClr val="7269AD"/>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r>
              <a:rPr lang="en">
                <a:solidFill>
                  <a:schemeClr val="bg1">
                    <a:lumMod val="65000"/>
                  </a:schemeClr>
                </a:solidFill>
              </a:rPr>
              <a:t>0</a:t>
            </a:r>
            <a:r>
              <a:rPr lang="en"/>
              <a:t> </a:t>
            </a:r>
            <a:fld id="{00000000-1234-1234-1234-123412341234}" type="slidenum">
              <a:rPr lang="en" smtClean="0"/>
              <a:pPr/>
              <a:t>‹#›</a:t>
            </a:fld>
            <a:endParaRPr lang="en"/>
          </a:p>
        </p:txBody>
      </p:sp>
      <p:sp>
        <p:nvSpPr>
          <p:cNvPr id="8" name="Rectangle 7">
            <a:extLst>
              <a:ext uri="{FF2B5EF4-FFF2-40B4-BE49-F238E27FC236}">
                <a16:creationId xmlns:a16="http://schemas.microsoft.com/office/drawing/2014/main" id="{BCBB4057-968A-A446-8841-61ECA0E915F2}"/>
              </a:ext>
            </a:extLst>
          </p:cNvPr>
          <p:cNvSpPr/>
          <p:nvPr userDrawn="1"/>
        </p:nvSpPr>
        <p:spPr>
          <a:xfrm>
            <a:off x="3487948" y="4862270"/>
            <a:ext cx="2443298" cy="200055"/>
          </a:xfrm>
          <a:prstGeom prst="rect">
            <a:avLst/>
          </a:prstGeom>
        </p:spPr>
        <p:txBody>
          <a:bodyPr wrap="none">
            <a:spAutoFit/>
          </a:bodyPr>
          <a:lstStyle/>
          <a:p>
            <a:r>
              <a:rPr lang="en-US" sz="700">
                <a:solidFill>
                  <a:srgbClr val="9B79AD"/>
                </a:solidFill>
                <a:latin typeface="Helvetica" pitchFamily="2" charset="0"/>
              </a:rPr>
              <a:t>Your first call when it comes to cybersecurity and privacy</a:t>
            </a:r>
          </a:p>
        </p:txBody>
      </p:sp>
      <p:pic>
        <p:nvPicPr>
          <p:cNvPr id="9" name="Content Placeholder 4">
            <a:extLst>
              <a:ext uri="{FF2B5EF4-FFF2-40B4-BE49-F238E27FC236}">
                <a16:creationId xmlns:a16="http://schemas.microsoft.com/office/drawing/2014/main" id="{9AC55255-889C-674F-8131-D624E0C9D8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5173" y="4926649"/>
            <a:ext cx="928494" cy="122254"/>
          </a:xfrm>
          <a:prstGeom prst="rect">
            <a:avLst/>
          </a:prstGeom>
        </p:spPr>
      </p:pic>
    </p:spTree>
    <p:extLst>
      <p:ext uri="{BB962C8B-B14F-4D97-AF65-F5344CB8AC3E}">
        <p14:creationId xmlns:p14="http://schemas.microsoft.com/office/powerpoint/2010/main" val="17807707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E7780F-3FCA-D74F-BEB3-17C58357B253}"/>
              </a:ext>
            </a:extLst>
          </p:cNvPr>
          <p:cNvSpPr/>
          <p:nvPr userDrawn="1"/>
        </p:nvSpPr>
        <p:spPr>
          <a:xfrm>
            <a:off x="8893" y="1454530"/>
            <a:ext cx="9135107" cy="328293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7" name="Rectangle 6">
            <a:extLst>
              <a:ext uri="{FF2B5EF4-FFF2-40B4-BE49-F238E27FC236}">
                <a16:creationId xmlns:a16="http://schemas.microsoft.com/office/drawing/2014/main" id="{522C1357-E43B-294B-8FD5-E71BD0DCB48A}"/>
              </a:ext>
            </a:extLst>
          </p:cNvPr>
          <p:cNvSpPr/>
          <p:nvPr userDrawn="1"/>
        </p:nvSpPr>
        <p:spPr>
          <a:xfrm>
            <a:off x="0" y="4737468"/>
            <a:ext cx="9143999" cy="40603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8" name="Rectangle 7">
            <a:extLst>
              <a:ext uri="{FF2B5EF4-FFF2-40B4-BE49-F238E27FC236}">
                <a16:creationId xmlns:a16="http://schemas.microsoft.com/office/drawing/2014/main" id="{2B8CE265-7DA8-B641-8505-7C4120B63C06}"/>
              </a:ext>
            </a:extLst>
          </p:cNvPr>
          <p:cNvSpPr/>
          <p:nvPr userDrawn="1"/>
        </p:nvSpPr>
        <p:spPr>
          <a:xfrm>
            <a:off x="3487948" y="4862270"/>
            <a:ext cx="2443298" cy="200055"/>
          </a:xfrm>
          <a:prstGeom prst="rect">
            <a:avLst/>
          </a:prstGeom>
        </p:spPr>
        <p:txBody>
          <a:bodyPr wrap="none">
            <a:spAutoFit/>
          </a:bodyPr>
          <a:lstStyle/>
          <a:p>
            <a:r>
              <a:rPr lang="en-US" sz="700">
                <a:solidFill>
                  <a:srgbClr val="9B79AD"/>
                </a:solidFill>
                <a:latin typeface="Helvetica" pitchFamily="2" charset="0"/>
              </a:rPr>
              <a:t>Your first call when it comes to cybersecurity and privacy</a:t>
            </a:r>
          </a:p>
        </p:txBody>
      </p:sp>
      <p:pic>
        <p:nvPicPr>
          <p:cNvPr id="9" name="Content Placeholder 4">
            <a:extLst>
              <a:ext uri="{FF2B5EF4-FFF2-40B4-BE49-F238E27FC236}">
                <a16:creationId xmlns:a16="http://schemas.microsoft.com/office/drawing/2014/main" id="{86446685-D69F-4B4F-954A-7A9DC0E539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5173" y="4926649"/>
            <a:ext cx="928494" cy="122254"/>
          </a:xfrm>
          <a:prstGeom prst="rect">
            <a:avLst/>
          </a:prstGeom>
        </p:spPr>
      </p:pic>
      <p:sp>
        <p:nvSpPr>
          <p:cNvPr id="11" name="Shape 25">
            <a:extLst>
              <a:ext uri="{FF2B5EF4-FFF2-40B4-BE49-F238E27FC236}">
                <a16:creationId xmlns:a16="http://schemas.microsoft.com/office/drawing/2014/main" id="{03E3745B-C92B-3A49-927F-63EEAFD38EC9}"/>
              </a:ext>
            </a:extLst>
          </p:cNvPr>
          <p:cNvSpPr txBox="1">
            <a:spLocks/>
          </p:cNvSpPr>
          <p:nvPr userDrawn="1"/>
        </p:nvSpPr>
        <p:spPr>
          <a:xfrm>
            <a:off x="8447301" y="4765497"/>
            <a:ext cx="548700" cy="393600"/>
          </a:xfrm>
          <a:prstGeom prst="rect">
            <a:avLst/>
          </a:prstGeom>
        </p:spPr>
        <p:txBody>
          <a:bodyPr vert="horz" wrap="square" lIns="91425" tIns="91425" rIns="91425" bIns="91425"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None/>
              <a:defRPr sz="1000" b="0" i="0" u="none" strike="noStrike" cap="none">
                <a:solidFill>
                  <a:srgbClr val="7269AD"/>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r>
              <a:rPr lang="en">
                <a:solidFill>
                  <a:schemeClr val="bg1">
                    <a:lumMod val="65000"/>
                  </a:schemeClr>
                </a:solidFill>
              </a:rPr>
              <a:t>0</a:t>
            </a:r>
            <a:r>
              <a:rPr lang="en"/>
              <a:t> </a:t>
            </a:r>
            <a:fld id="{00000000-1234-1234-1234-123412341234}" type="slidenum">
              <a:rPr lang="en" smtClean="0"/>
              <a:pPr/>
              <a:t>‹#›</a:t>
            </a:fld>
            <a:endParaRPr lang="en"/>
          </a:p>
        </p:txBody>
      </p:sp>
    </p:spTree>
    <p:extLst>
      <p:ext uri="{BB962C8B-B14F-4D97-AF65-F5344CB8AC3E}">
        <p14:creationId xmlns:p14="http://schemas.microsoft.com/office/powerpoint/2010/main" val="18202279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spTree>
      <p:nvGrpSpPr>
        <p:cNvPr id="1" name="Shape 9"/>
        <p:cNvGrpSpPr/>
        <p:nvPr/>
      </p:nvGrpSpPr>
      <p:grpSpPr>
        <a:xfrm>
          <a:off x="0" y="0"/>
          <a:ext cx="0" cy="0"/>
          <a:chOff x="0" y="0"/>
          <a:chExt cx="0" cy="0"/>
        </a:xfrm>
      </p:grpSpPr>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r="16801"/>
          <a:stretch/>
        </p:blipFill>
        <p:spPr>
          <a:xfrm>
            <a:off x="2320125" y="1879502"/>
            <a:ext cx="2313162" cy="2035833"/>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12792" t="-1744" r="14083" b="1744"/>
          <a:stretch/>
        </p:blipFill>
        <p:spPr>
          <a:xfrm>
            <a:off x="4645691" y="-39391"/>
            <a:ext cx="2212817" cy="200472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1235"/>
          <a:stretch/>
        </p:blipFill>
        <p:spPr>
          <a:xfrm>
            <a:off x="-1368" y="-6875"/>
            <a:ext cx="2320066" cy="1972213"/>
          </a:xfrm>
          <a:prstGeom prst="rect">
            <a:avLst/>
          </a:prstGeom>
        </p:spPr>
      </p:pic>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l="16803" t="-338" r="6275" b="338"/>
          <a:stretch/>
        </p:blipFill>
        <p:spPr>
          <a:xfrm>
            <a:off x="6858509" y="1872971"/>
            <a:ext cx="2285491" cy="2042365"/>
          </a:xfrm>
          <a:prstGeom prst="rect">
            <a:avLst/>
          </a:prstGeom>
        </p:spPr>
      </p:pic>
      <p:sp>
        <p:nvSpPr>
          <p:cNvPr id="3" name="Rectangle 2">
            <a:extLst>
              <a:ext uri="{FF2B5EF4-FFF2-40B4-BE49-F238E27FC236}">
                <a16:creationId xmlns:a16="http://schemas.microsoft.com/office/drawing/2014/main" id="{3C6F0BFB-6454-694A-882F-24178DFBA67D}"/>
              </a:ext>
            </a:extLst>
          </p:cNvPr>
          <p:cNvSpPr/>
          <p:nvPr userDrawn="1"/>
        </p:nvSpPr>
        <p:spPr>
          <a:xfrm>
            <a:off x="-2207" y="1879502"/>
            <a:ext cx="2322332" cy="2035833"/>
          </a:xfrm>
          <a:prstGeom prst="rect">
            <a:avLst/>
          </a:prstGeom>
          <a:solidFill>
            <a:srgbClr val="723B8E">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Rectangle 4">
            <a:extLst>
              <a:ext uri="{FF2B5EF4-FFF2-40B4-BE49-F238E27FC236}">
                <a16:creationId xmlns:a16="http://schemas.microsoft.com/office/drawing/2014/main" id="{C2F8EAE9-5B06-144B-97A5-914B6573DD67}"/>
              </a:ext>
            </a:extLst>
          </p:cNvPr>
          <p:cNvSpPr/>
          <p:nvPr userDrawn="1"/>
        </p:nvSpPr>
        <p:spPr>
          <a:xfrm>
            <a:off x="6858509" y="-7317"/>
            <a:ext cx="2284094" cy="1972655"/>
          </a:xfrm>
          <a:prstGeom prst="rect">
            <a:avLst/>
          </a:pr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7" name="Rectangle 6">
            <a:extLst>
              <a:ext uri="{FF2B5EF4-FFF2-40B4-BE49-F238E27FC236}">
                <a16:creationId xmlns:a16="http://schemas.microsoft.com/office/drawing/2014/main" id="{5006EB78-DE20-5D43-9BBC-0B700FE6C40A}"/>
              </a:ext>
            </a:extLst>
          </p:cNvPr>
          <p:cNvSpPr/>
          <p:nvPr userDrawn="1"/>
        </p:nvSpPr>
        <p:spPr>
          <a:xfrm>
            <a:off x="2320094" y="0"/>
            <a:ext cx="2325598" cy="1965338"/>
          </a:xfrm>
          <a:prstGeom prst="rect">
            <a:avLst/>
          </a:prstGeom>
          <a:solidFill>
            <a:srgbClr val="8C3BCB">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Rectangle 8">
            <a:extLst>
              <a:ext uri="{FF2B5EF4-FFF2-40B4-BE49-F238E27FC236}">
                <a16:creationId xmlns:a16="http://schemas.microsoft.com/office/drawing/2014/main" id="{49ADD23B-C850-004C-A790-E08D7C721723}"/>
              </a:ext>
            </a:extLst>
          </p:cNvPr>
          <p:cNvSpPr/>
          <p:nvPr userDrawn="1"/>
        </p:nvSpPr>
        <p:spPr>
          <a:xfrm>
            <a:off x="4633287" y="1879502"/>
            <a:ext cx="2225222" cy="2035834"/>
          </a:xfrm>
          <a:prstGeom prst="rect">
            <a:avLst/>
          </a:prstGeom>
          <a:solidFill>
            <a:srgbClr val="7F60A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2065143D-1353-4302-A820-BC616226545E}"/>
              </a:ext>
            </a:extLst>
          </p:cNvPr>
          <p:cNvPicPr>
            <a:picLocks noChangeAspect="1"/>
          </p:cNvPicPr>
          <p:nvPr userDrawn="1"/>
        </p:nvPicPr>
        <p:blipFill rotWithShape="1">
          <a:blip r:embed="rId6"/>
          <a:srcRect t="2582" b="2153"/>
          <a:stretch/>
        </p:blipFill>
        <p:spPr>
          <a:xfrm>
            <a:off x="0" y="0"/>
            <a:ext cx="9144000" cy="4451350"/>
          </a:xfrm>
          <a:prstGeom prst="rect">
            <a:avLst/>
          </a:prstGeom>
        </p:spPr>
      </p:pic>
    </p:spTree>
    <p:extLst>
      <p:ext uri="{BB962C8B-B14F-4D97-AF65-F5344CB8AC3E}">
        <p14:creationId xmlns:p14="http://schemas.microsoft.com/office/powerpoint/2010/main" val="359017760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 2 columns">
    <p:spTree>
      <p:nvGrpSpPr>
        <p:cNvPr id="1" name="Shape 26"/>
        <p:cNvGrpSpPr/>
        <p:nvPr/>
      </p:nvGrpSpPr>
      <p:grpSpPr>
        <a:xfrm>
          <a:off x="0" y="0"/>
          <a:ext cx="0" cy="0"/>
          <a:chOff x="0" y="0"/>
          <a:chExt cx="0" cy="0"/>
        </a:xfrm>
      </p:grpSpPr>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7086" y="116827"/>
            <a:ext cx="1416818" cy="149835"/>
          </a:xfrm>
          <a:prstGeom prst="rect">
            <a:avLst/>
          </a:prstGeom>
        </p:spPr>
      </p:pic>
      <p:sp>
        <p:nvSpPr>
          <p:cNvPr id="9" name="Rectangle 8">
            <a:extLst>
              <a:ext uri="{FF2B5EF4-FFF2-40B4-BE49-F238E27FC236}">
                <a16:creationId xmlns:a16="http://schemas.microsoft.com/office/drawing/2014/main" id="{5C72078D-33F0-D14B-84DA-FC1320939938}"/>
              </a:ext>
            </a:extLst>
          </p:cNvPr>
          <p:cNvSpPr/>
          <p:nvPr userDrawn="1"/>
        </p:nvSpPr>
        <p:spPr>
          <a:xfrm>
            <a:off x="3432002" y="1574573"/>
            <a:ext cx="5711997" cy="315744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pic>
        <p:nvPicPr>
          <p:cNvPr id="14" name="Picture 14">
            <a:extLst>
              <a:ext uri="{FF2B5EF4-FFF2-40B4-BE49-F238E27FC236}">
                <a16:creationId xmlns:a16="http://schemas.microsoft.com/office/drawing/2014/main" id="{8527DC9A-CC3E-9242-90B6-68D39BA6826D}"/>
              </a:ext>
            </a:extLst>
          </p:cNvPr>
          <p:cNvPicPr>
            <a:picLocks noChangeAspect="1"/>
          </p:cNvPicPr>
          <p:nvPr userDrawn="1"/>
        </p:nvPicPr>
        <p:blipFill rotWithShape="1">
          <a:blip r:embed="rId3">
            <a:duotone>
              <a:prstClr val="black"/>
              <a:srgbClr val="7030A0">
                <a:tint val="45000"/>
                <a:satMod val="400000"/>
              </a:srgbClr>
            </a:duotone>
            <a:extLst>
              <a:ext uri="{28A0092B-C50C-407E-A947-70E740481C1C}">
                <a14:useLocalDpi xmlns:a14="http://schemas.microsoft.com/office/drawing/2010/main" val="0"/>
              </a:ext>
            </a:extLst>
          </a:blip>
          <a:srcRect l="28366" r="35200"/>
          <a:stretch/>
        </p:blipFill>
        <p:spPr>
          <a:xfrm>
            <a:off x="-11576" y="1565451"/>
            <a:ext cx="3432956" cy="3166569"/>
          </a:xfrm>
          <a:prstGeom prst="rect">
            <a:avLst/>
          </a:prstGeom>
        </p:spPr>
      </p:pic>
      <p:sp>
        <p:nvSpPr>
          <p:cNvPr id="30" name="Shape 30"/>
          <p:cNvSpPr txBox="1">
            <a:spLocks noGrp="1"/>
          </p:cNvSpPr>
          <p:nvPr>
            <p:ph type="body" idx="2"/>
          </p:nvPr>
        </p:nvSpPr>
        <p:spPr>
          <a:xfrm>
            <a:off x="3826384" y="1829785"/>
            <a:ext cx="2675100" cy="2637900"/>
          </a:xfrm>
          <a:prstGeom prst="rect">
            <a:avLst/>
          </a:prstGeom>
        </p:spPr>
        <p:txBody>
          <a:bodyPr wrap="square" lIns="91425" tIns="91425" rIns="91425" bIns="91425" anchor="t" anchorCtr="0"/>
          <a:lstStyle>
            <a:lvl1pPr lvl="0">
              <a:spcBef>
                <a:spcPts val="0"/>
              </a:spcBef>
              <a:buSzPts val="1600"/>
              <a:buChar char="×"/>
              <a:defRPr sz="1600">
                <a:latin typeface="Arial" charset="0"/>
                <a:ea typeface="Arial" charset="0"/>
                <a:cs typeface="Arial" charset="0"/>
              </a:defRPr>
            </a:lvl1pPr>
            <a:lvl2pPr lvl="1">
              <a:spcBef>
                <a:spcPts val="0"/>
              </a:spcBef>
              <a:buSzPts val="1600"/>
              <a:buChar char="×"/>
              <a:defRPr sz="1600"/>
            </a:lvl2pPr>
            <a:lvl3pPr lvl="2">
              <a:spcBef>
                <a:spcPts val="0"/>
              </a:spcBef>
              <a:buSzPts val="1600"/>
              <a:buChar char="×"/>
              <a:defRPr sz="1600"/>
            </a:lvl3pPr>
            <a:lvl4pPr lvl="3">
              <a:spcBef>
                <a:spcPts val="0"/>
              </a:spcBef>
              <a:buSzPts val="1600"/>
              <a:buChar char="×"/>
              <a:defRPr sz="1600"/>
            </a:lvl4pPr>
            <a:lvl5pPr lvl="4">
              <a:spcBef>
                <a:spcPts val="0"/>
              </a:spcBef>
              <a:buSzPts val="1600"/>
              <a:buChar char="○"/>
              <a:defRPr sz="1600"/>
            </a:lvl5pPr>
            <a:lvl6pPr lvl="5">
              <a:spcBef>
                <a:spcPts val="0"/>
              </a:spcBef>
              <a:buSzPts val="1600"/>
              <a:buChar char="■"/>
              <a:defRPr sz="1600"/>
            </a:lvl6pPr>
            <a:lvl7pPr lvl="6">
              <a:spcBef>
                <a:spcPts val="0"/>
              </a:spcBef>
              <a:buSzPts val="1600"/>
              <a:buChar char="●"/>
              <a:defRPr sz="1600"/>
            </a:lvl7pPr>
            <a:lvl8pPr lvl="7">
              <a:spcBef>
                <a:spcPts val="0"/>
              </a:spcBef>
              <a:buSzPts val="1600"/>
              <a:buChar char="○"/>
              <a:defRPr sz="1600"/>
            </a:lvl8pPr>
            <a:lvl9pPr lvl="8">
              <a:spcBef>
                <a:spcPts val="0"/>
              </a:spcBef>
              <a:buSzPts val="1600"/>
              <a:buChar char="■"/>
              <a:defRPr sz="1600"/>
            </a:lvl9pPr>
          </a:lstStyle>
          <a:p>
            <a:endParaRPr/>
          </a:p>
        </p:txBody>
      </p:sp>
      <p:sp>
        <p:nvSpPr>
          <p:cNvPr id="18" name="Shape 25">
            <a:extLst>
              <a:ext uri="{FF2B5EF4-FFF2-40B4-BE49-F238E27FC236}">
                <a16:creationId xmlns:a16="http://schemas.microsoft.com/office/drawing/2014/main" id="{422C0563-2E55-3147-87DA-8A918D80B7FE}"/>
              </a:ext>
            </a:extLst>
          </p:cNvPr>
          <p:cNvSpPr txBox="1">
            <a:spLocks/>
          </p:cNvSpPr>
          <p:nvPr userDrawn="1"/>
        </p:nvSpPr>
        <p:spPr>
          <a:xfrm>
            <a:off x="8542438" y="4749900"/>
            <a:ext cx="548700" cy="393600"/>
          </a:xfrm>
          <a:prstGeom prst="rect">
            <a:avLst/>
          </a:prstGeom>
        </p:spPr>
        <p:txBody>
          <a:bodyPr vert="horz" wrap="square" lIns="91425" tIns="91425" rIns="91425" bIns="91425"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None/>
              <a:defRPr sz="1000" b="0" i="0" u="none" strike="noStrike" cap="none">
                <a:solidFill>
                  <a:srgbClr val="7269AD"/>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r>
              <a:rPr lang="en">
                <a:solidFill>
                  <a:schemeClr val="bg1">
                    <a:lumMod val="65000"/>
                  </a:schemeClr>
                </a:solidFill>
              </a:rPr>
              <a:t>0</a:t>
            </a:r>
            <a:r>
              <a:rPr lang="en"/>
              <a:t> </a:t>
            </a:r>
            <a:fld id="{00000000-1234-1234-1234-123412341234}" type="slidenum">
              <a:rPr lang="en" smtClean="0"/>
              <a:pPr/>
              <a:t>‹#›</a:t>
            </a:fld>
            <a:endParaRPr lang="en"/>
          </a:p>
        </p:txBody>
      </p:sp>
      <p:sp>
        <p:nvSpPr>
          <p:cNvPr id="19" name="Rectangle 18">
            <a:extLst>
              <a:ext uri="{FF2B5EF4-FFF2-40B4-BE49-F238E27FC236}">
                <a16:creationId xmlns:a16="http://schemas.microsoft.com/office/drawing/2014/main" id="{70615611-9D59-844E-AE72-6BA0B9402A14}"/>
              </a:ext>
            </a:extLst>
          </p:cNvPr>
          <p:cNvSpPr/>
          <p:nvPr userDrawn="1"/>
        </p:nvSpPr>
        <p:spPr>
          <a:xfrm>
            <a:off x="0" y="4737468"/>
            <a:ext cx="9143999" cy="40603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lumMod val="50000"/>
                </a:schemeClr>
              </a:solidFill>
              <a:latin typeface="Helvetica" pitchFamily="2" charset="0"/>
            </a:endParaRPr>
          </a:p>
        </p:txBody>
      </p:sp>
      <p:sp>
        <p:nvSpPr>
          <p:cNvPr id="20" name="Rectangle 19">
            <a:extLst>
              <a:ext uri="{FF2B5EF4-FFF2-40B4-BE49-F238E27FC236}">
                <a16:creationId xmlns:a16="http://schemas.microsoft.com/office/drawing/2014/main" id="{8E8504BB-4788-BB47-9425-7D2C3F10CEB9}"/>
              </a:ext>
            </a:extLst>
          </p:cNvPr>
          <p:cNvSpPr/>
          <p:nvPr userDrawn="1"/>
        </p:nvSpPr>
        <p:spPr>
          <a:xfrm>
            <a:off x="3487948" y="4862270"/>
            <a:ext cx="2443298" cy="200055"/>
          </a:xfrm>
          <a:prstGeom prst="rect">
            <a:avLst/>
          </a:prstGeom>
        </p:spPr>
        <p:txBody>
          <a:bodyPr wrap="none">
            <a:spAutoFit/>
          </a:bodyPr>
          <a:lstStyle/>
          <a:p>
            <a:r>
              <a:rPr lang="en-US" sz="700">
                <a:solidFill>
                  <a:srgbClr val="9B79AD"/>
                </a:solidFill>
                <a:latin typeface="Helvetica" pitchFamily="2" charset="0"/>
              </a:rPr>
              <a:t>Your first call when it comes to cybersecurity and privacy</a:t>
            </a:r>
          </a:p>
        </p:txBody>
      </p:sp>
      <p:pic>
        <p:nvPicPr>
          <p:cNvPr id="21" name="Content Placeholder 4">
            <a:extLst>
              <a:ext uri="{FF2B5EF4-FFF2-40B4-BE49-F238E27FC236}">
                <a16:creationId xmlns:a16="http://schemas.microsoft.com/office/drawing/2014/main" id="{BF7DE516-8D13-144C-8943-9FA04FC562B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5173" y="4926649"/>
            <a:ext cx="928494" cy="122254"/>
          </a:xfrm>
          <a:prstGeom prst="rect">
            <a:avLst/>
          </a:prstGeom>
        </p:spPr>
      </p:pic>
    </p:spTree>
    <p:extLst>
      <p:ext uri="{BB962C8B-B14F-4D97-AF65-F5344CB8AC3E}">
        <p14:creationId xmlns:p14="http://schemas.microsoft.com/office/powerpoint/2010/main" val="368371445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FCA31B7-8857-1446-AFC0-B52BF01B693E}"/>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0DD8494F-F605-714E-B17D-DB4553D6363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r>
              <a:rPr lang="fr-FR"/>
              <a:t>Modifier les styles du texte du masque
Deuxième niveau
Troisième niveau
Quatrième niveau
Cinquième niveau</a:t>
            </a:r>
            <a:endParaRPr lang="en-US"/>
          </a:p>
        </p:txBody>
      </p:sp>
      <p:sp>
        <p:nvSpPr>
          <p:cNvPr id="4" name="Espace réservé de la date 3">
            <a:extLst>
              <a:ext uri="{FF2B5EF4-FFF2-40B4-BE49-F238E27FC236}">
                <a16:creationId xmlns:a16="http://schemas.microsoft.com/office/drawing/2014/main" id="{4FC2293B-BFD3-A643-B04D-D61BE69945F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910E47C-4CF1-8846-A8AF-876DEF1FA02C}" type="datetimeFigureOut">
              <a:rPr lang="en-US" smtClean="0"/>
              <a:t>10/5/2021</a:t>
            </a:fld>
            <a:endParaRPr lang="en-US"/>
          </a:p>
        </p:txBody>
      </p:sp>
      <p:sp>
        <p:nvSpPr>
          <p:cNvPr id="5" name="Espace réservé du pied de page 4">
            <a:extLst>
              <a:ext uri="{FF2B5EF4-FFF2-40B4-BE49-F238E27FC236}">
                <a16:creationId xmlns:a16="http://schemas.microsoft.com/office/drawing/2014/main" id="{8D9C084B-6C22-8E4C-8C57-3A0197EB8CF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F25FCBC0-A750-DB4C-8DBD-D83906F38D4A}"/>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marL="0" lvl="0" indent="0" algn="r">
              <a:spcBef>
                <a:spcPts val="0"/>
              </a:spcBef>
              <a:buNone/>
            </a:pPr>
            <a:fld id="{00000000-1234-1234-1234-123412341234}" type="slidenum">
              <a:rPr lang="en" sz="1800" smtClean="0">
                <a:solidFill>
                  <a:srgbClr val="FFFFFF"/>
                </a:solidFill>
                <a:latin typeface="Lato Light"/>
                <a:ea typeface="Lato Light"/>
                <a:cs typeface="Lato Light"/>
                <a:sym typeface="Lato Light"/>
              </a:rPr>
              <a:t>‹#›</a:t>
            </a:fld>
            <a:endParaRPr lang="en" sz="1800">
              <a:solidFill>
                <a:srgbClr val="FFFFFF"/>
              </a:solidFill>
              <a:latin typeface="Lato Light"/>
              <a:ea typeface="Lato Light"/>
              <a:cs typeface="Lato Light"/>
              <a:sym typeface="Lato Light"/>
            </a:endParaRPr>
          </a:p>
        </p:txBody>
      </p:sp>
    </p:spTree>
    <p:extLst>
      <p:ext uri="{BB962C8B-B14F-4D97-AF65-F5344CB8AC3E}">
        <p14:creationId xmlns:p14="http://schemas.microsoft.com/office/powerpoint/2010/main" val="9333091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4" r:id="rId8"/>
    <p:sldLayoutId id="2147483676" r:id="rId9"/>
    <p:sldLayoutId id="2147483678" r:id="rId10"/>
  </p:sldLayoutIdLst>
  <p:transition>
    <p:fade thruBlk="1"/>
  </p:transition>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0.xml"/><Relationship Id="rId7" Type="http://schemas.openxmlformats.org/officeDocument/2006/relationships/image" Target="../media/image43.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notesSlide" Target="../notesSlides/notesSlide9.xml"/><Relationship Id="rId5" Type="http://schemas.openxmlformats.org/officeDocument/2006/relationships/slideLayout" Target="../slideLayouts/slideLayout7.xml"/><Relationship Id="rId10" Type="http://schemas.openxmlformats.org/officeDocument/2006/relationships/image" Target="../media/image46.png"/><Relationship Id="rId4" Type="http://schemas.openxmlformats.org/officeDocument/2006/relationships/tags" Target="../tags/tag51.xml"/><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4.xml"/><Relationship Id="rId7" Type="http://schemas.openxmlformats.org/officeDocument/2006/relationships/image" Target="../media/image43.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notesSlide" Target="../notesSlides/notesSlide10.xml"/><Relationship Id="rId5" Type="http://schemas.openxmlformats.org/officeDocument/2006/relationships/slideLayout" Target="../slideLayouts/slideLayout7.xml"/><Relationship Id="rId10" Type="http://schemas.openxmlformats.org/officeDocument/2006/relationships/image" Target="../media/image46.png"/><Relationship Id="rId4" Type="http://schemas.openxmlformats.org/officeDocument/2006/relationships/tags" Target="../tags/tag55.xml"/><Relationship Id="rId9" Type="http://schemas.openxmlformats.org/officeDocument/2006/relationships/image" Target="../media/image45.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8.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11.xml"/><Relationship Id="rId5" Type="http://schemas.openxmlformats.org/officeDocument/2006/relationships/slideLayout" Target="../slideLayouts/slideLayout7.xml"/><Relationship Id="rId10" Type="http://schemas.openxmlformats.org/officeDocument/2006/relationships/image" Target="../media/image46.png"/><Relationship Id="rId4" Type="http://schemas.openxmlformats.org/officeDocument/2006/relationships/tags" Target="../tags/tag59.xml"/><Relationship Id="rId9"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notesSlide" Target="../notesSlides/notesSlide12.xml"/><Relationship Id="rId18" Type="http://schemas.openxmlformats.org/officeDocument/2006/relationships/image" Target="../media/image46.png"/><Relationship Id="rId3" Type="http://schemas.openxmlformats.org/officeDocument/2006/relationships/tags" Target="../tags/tag62.xml"/><Relationship Id="rId21" Type="http://schemas.openxmlformats.org/officeDocument/2006/relationships/image" Target="../media/image45.png"/><Relationship Id="rId7" Type="http://schemas.openxmlformats.org/officeDocument/2006/relationships/tags" Target="../tags/tag66.xml"/><Relationship Id="rId12" Type="http://schemas.openxmlformats.org/officeDocument/2006/relationships/slideLayout" Target="../slideLayouts/slideLayout6.xml"/><Relationship Id="rId17" Type="http://schemas.openxmlformats.org/officeDocument/2006/relationships/image" Target="../media/image43.png"/><Relationship Id="rId2" Type="http://schemas.openxmlformats.org/officeDocument/2006/relationships/tags" Target="../tags/tag61.xml"/><Relationship Id="rId16" Type="http://schemas.openxmlformats.org/officeDocument/2006/relationships/image" Target="../media/image48.png"/><Relationship Id="rId20" Type="http://schemas.openxmlformats.org/officeDocument/2006/relationships/image" Target="../media/image44.pn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image" Target="../media/image47.jpeg"/><Relationship Id="rId10" Type="http://schemas.openxmlformats.org/officeDocument/2006/relationships/tags" Target="../tags/tag69.xml"/><Relationship Id="rId19" Type="http://schemas.openxmlformats.org/officeDocument/2006/relationships/image" Target="../media/image49.pn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0.gif"/><Relationship Id="rId5" Type="http://schemas.openxmlformats.org/officeDocument/2006/relationships/notesSlide" Target="../notesSlides/notesSlide13.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hyperlink" Target="https://www.numerama.com/sciences/726127-certificat-de-vaccination-europeen-tout-comprendre-au-qr-code-sur-votre-document.html" TargetMode="Externa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hyperlink" Target="https://ants.gouv.fr/content/download/516/5665/version/9/file/ANTS_2D-Doc_CABSpec_v3.1.1.pdf" TargetMode="Externa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51.png"/><Relationship Id="rId5" Type="http://schemas.openxmlformats.org/officeDocument/2006/relationships/tags" Target="../tags/tag78.xml"/><Relationship Id="rId10" Type="http://schemas.openxmlformats.org/officeDocument/2006/relationships/notesSlide" Target="../notesSlides/notesSlide14.xml"/><Relationship Id="rId4" Type="http://schemas.openxmlformats.org/officeDocument/2006/relationships/tags" Target="../tags/tag77.xml"/><Relationship Id="rId9"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84.xml"/><Relationship Id="rId7" Type="http://schemas.openxmlformats.org/officeDocument/2006/relationships/notesSlide" Target="../notesSlides/notesSlide15.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Layout" Target="../slideLayouts/slideLayout7.xml"/><Relationship Id="rId5" Type="http://schemas.openxmlformats.org/officeDocument/2006/relationships/tags" Target="../tags/tag86.xml"/><Relationship Id="rId10" Type="http://schemas.openxmlformats.org/officeDocument/2006/relationships/image" Target="../media/image53.png"/><Relationship Id="rId4" Type="http://schemas.openxmlformats.org/officeDocument/2006/relationships/tags" Target="../tags/tag85.xml"/><Relationship Id="rId9" Type="http://schemas.openxmlformats.org/officeDocument/2006/relationships/image" Target="../media/image52.gif"/></Relationships>
</file>

<file path=ppt/slides/_rels/slide1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51.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notesSlide" Target="../notesSlides/notesSlide16.xml"/><Relationship Id="rId5" Type="http://schemas.openxmlformats.org/officeDocument/2006/relationships/slideLayout" Target="../slideLayouts/slideLayout7.xml"/><Relationship Id="rId4" Type="http://schemas.openxmlformats.org/officeDocument/2006/relationships/tags" Target="../tags/tag90.xml"/></Relationships>
</file>

<file path=ppt/slides/_rels/slide18.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hyperlink" Target="https://ec.europa.eu/health/sites/default/files/ehealth/docs/covid-certificate_json_specification_en.pdf" TargetMode="Externa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54.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notesSlide" Target="../notesSlides/notesSlide17.xml"/><Relationship Id="rId5" Type="http://schemas.openxmlformats.org/officeDocument/2006/relationships/tags" Target="../tags/tag95.xml"/><Relationship Id="rId10" Type="http://schemas.openxmlformats.org/officeDocument/2006/relationships/slideLayout" Target="../slideLayouts/slideLayout7.xml"/><Relationship Id="rId4" Type="http://schemas.openxmlformats.org/officeDocument/2006/relationships/tags" Target="../tags/tag94.xml"/><Relationship Id="rId9" Type="http://schemas.openxmlformats.org/officeDocument/2006/relationships/tags" Target="../tags/tag99.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02.xml"/><Relationship Id="rId7" Type="http://schemas.openxmlformats.org/officeDocument/2006/relationships/slideLayout" Target="../slideLayouts/slideLayout7.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56.png"/><Relationship Id="rId5" Type="http://schemas.openxmlformats.org/officeDocument/2006/relationships/tags" Target="../tags/tag104.xml"/><Relationship Id="rId10" Type="http://schemas.openxmlformats.org/officeDocument/2006/relationships/image" Target="../media/image55.gif"/><Relationship Id="rId4" Type="http://schemas.openxmlformats.org/officeDocument/2006/relationships/tags" Target="../tags/tag103.xml"/><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diagramData" Target="../diagrams/data3.xml"/><Relationship Id="rId3" Type="http://schemas.openxmlformats.org/officeDocument/2006/relationships/tags" Target="../tags/tag4.xml"/><Relationship Id="rId21" Type="http://schemas.openxmlformats.org/officeDocument/2006/relationships/diagramColors" Target="../diagrams/colors3.xml"/><Relationship Id="rId7" Type="http://schemas.openxmlformats.org/officeDocument/2006/relationships/notesSlide" Target="../notesSlides/notesSlide2.xml"/><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tags" Target="../tags/tag3.xml"/><Relationship Id="rId16" Type="http://schemas.openxmlformats.org/officeDocument/2006/relationships/diagramColors" Target="../diagrams/colors2.xml"/><Relationship Id="rId20" Type="http://schemas.openxmlformats.org/officeDocument/2006/relationships/diagramQuickStyle" Target="../diagrams/quickStyle3.xml"/><Relationship Id="rId1" Type="http://schemas.openxmlformats.org/officeDocument/2006/relationships/tags" Target="../tags/tag2.xml"/><Relationship Id="rId6" Type="http://schemas.openxmlformats.org/officeDocument/2006/relationships/slideLayout" Target="../slideLayouts/slideLayout7.xml"/><Relationship Id="rId11" Type="http://schemas.openxmlformats.org/officeDocument/2006/relationships/diagramColors" Target="../diagrams/colors1.xml"/><Relationship Id="rId5" Type="http://schemas.openxmlformats.org/officeDocument/2006/relationships/tags" Target="../tags/tag6.xml"/><Relationship Id="rId15" Type="http://schemas.openxmlformats.org/officeDocument/2006/relationships/diagramQuickStyle" Target="../diagrams/quickStyle2.xml"/><Relationship Id="rId10" Type="http://schemas.openxmlformats.org/officeDocument/2006/relationships/diagramQuickStyle" Target="../diagrams/quickStyle1.xml"/><Relationship Id="rId19" Type="http://schemas.openxmlformats.org/officeDocument/2006/relationships/diagramLayout" Target="../diagrams/layout3.xml"/><Relationship Id="rId4" Type="http://schemas.openxmlformats.org/officeDocument/2006/relationships/tags" Target="../tags/tag5.xml"/><Relationship Id="rId9" Type="http://schemas.openxmlformats.org/officeDocument/2006/relationships/diagramLayout" Target="../diagrams/layout1.xml"/><Relationship Id="rId14" Type="http://schemas.openxmlformats.org/officeDocument/2006/relationships/diagramLayout" Target="../diagrams/layout2.xml"/><Relationship Id="rId22" Type="http://schemas.microsoft.com/office/2007/relationships/diagramDrawing" Target="../diagrams/drawing3.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108.xml"/><Relationship Id="rId7" Type="http://schemas.openxmlformats.org/officeDocument/2006/relationships/notesSlide" Target="../notesSlides/notesSlide19.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Layout" Target="../slideLayouts/slideLayout7.xml"/><Relationship Id="rId5" Type="http://schemas.openxmlformats.org/officeDocument/2006/relationships/tags" Target="../tags/tag110.xml"/><Relationship Id="rId4" Type="http://schemas.openxmlformats.org/officeDocument/2006/relationships/tags" Target="../tags/tag109.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113.xml"/><Relationship Id="rId7" Type="http://schemas.openxmlformats.org/officeDocument/2006/relationships/slideLayout" Target="../slideLayouts/slideLayout7.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image" Target="../media/image59.png"/><Relationship Id="rId5" Type="http://schemas.openxmlformats.org/officeDocument/2006/relationships/tags" Target="../tags/tag115.xml"/><Relationship Id="rId10" Type="http://schemas.openxmlformats.org/officeDocument/2006/relationships/image" Target="../media/image58.gif"/><Relationship Id="rId4" Type="http://schemas.openxmlformats.org/officeDocument/2006/relationships/tags" Target="../tags/tag114.xml"/><Relationship Id="rId9" Type="http://schemas.openxmlformats.org/officeDocument/2006/relationships/image" Target="../media/image57.png"/></Relationships>
</file>

<file path=ppt/slides/_rels/slide2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119.xml"/><Relationship Id="rId7" Type="http://schemas.openxmlformats.org/officeDocument/2006/relationships/notesSlide" Target="../notesSlides/notesSlide2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Layout" Target="../slideLayouts/slideLayout7.xml"/><Relationship Id="rId5" Type="http://schemas.openxmlformats.org/officeDocument/2006/relationships/tags" Target="../tags/tag121.xml"/><Relationship Id="rId4" Type="http://schemas.openxmlformats.org/officeDocument/2006/relationships/tags" Target="../tags/tag120.xml"/></Relationships>
</file>

<file path=ppt/slides/_rels/slide23.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50.gi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notesSlide" Target="../notesSlides/notesSlide22.xml"/><Relationship Id="rId5" Type="http://schemas.openxmlformats.org/officeDocument/2006/relationships/slideLayout" Target="../slideLayouts/slideLayout7.xml"/><Relationship Id="rId4" Type="http://schemas.openxmlformats.org/officeDocument/2006/relationships/tags" Target="../tags/tag125.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comments" Target="../comments/comment1.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60.jpeg"/><Relationship Id="rId5" Type="http://schemas.openxmlformats.org/officeDocument/2006/relationships/tags" Target="../tags/tag130.xml"/><Relationship Id="rId10" Type="http://schemas.openxmlformats.org/officeDocument/2006/relationships/image" Target="../media/image50.gif"/><Relationship Id="rId4" Type="http://schemas.openxmlformats.org/officeDocument/2006/relationships/tags" Target="../tags/tag129.xml"/><Relationship Id="rId9"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50.gif"/><Relationship Id="rId5" Type="http://schemas.openxmlformats.org/officeDocument/2006/relationships/notesSlide" Target="../notesSlides/notesSlide24.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61.png"/><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62.pn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hyperlink" Target="https://twitter.com/rootkfm/status/1439676436101619712" TargetMode="External"/><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image" Target="../media/image6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tags" Target="../tags/tag143.xml"/><Relationship Id="rId11" Type="http://schemas.openxmlformats.org/officeDocument/2006/relationships/notesSlide" Target="../notesSlides/notesSlide27.xml"/><Relationship Id="rId5" Type="http://schemas.openxmlformats.org/officeDocument/2006/relationships/tags" Target="../tags/tag142.xml"/><Relationship Id="rId10" Type="http://schemas.openxmlformats.org/officeDocument/2006/relationships/slideLayout" Target="../slideLayouts/slideLayout7.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image" Target="../media/image64.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tags" Target="../tags/tag9.xml"/><Relationship Id="rId7" Type="http://schemas.openxmlformats.org/officeDocument/2006/relationships/slide" Target="slide1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3.xml"/><Relationship Id="rId5" Type="http://schemas.openxmlformats.org/officeDocument/2006/relationships/slideLayout" Target="../slideLayouts/slideLayout10.xml"/><Relationship Id="rId4" Type="http://schemas.openxmlformats.org/officeDocument/2006/relationships/tags" Target="../tags/tag10.xml"/><Relationship Id="rId9" Type="http://schemas.openxmlformats.org/officeDocument/2006/relationships/slide" Target="slide33.xml"/></Relationships>
</file>

<file path=ppt/slides/_rels/slide3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151.xml"/><Relationship Id="rId7" Type="http://schemas.openxmlformats.org/officeDocument/2006/relationships/notesSlide" Target="../notesSlides/notesSlide29.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Layout" Target="../slideLayouts/slideLayout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slideLayout" Target="../slideLayouts/slideLayout7.xml"/><Relationship Id="rId3" Type="http://schemas.openxmlformats.org/officeDocument/2006/relationships/tags" Target="../tags/tag156.xml"/><Relationship Id="rId7" Type="http://schemas.openxmlformats.org/officeDocument/2006/relationships/tags" Target="../tags/tag160.xml"/><Relationship Id="rId12" Type="http://schemas.microsoft.com/office/2007/relationships/media" Target="../media/media2.mp4"/><Relationship Id="rId17" Type="http://schemas.openxmlformats.org/officeDocument/2006/relationships/image" Target="../media/image69.png"/><Relationship Id="rId2" Type="http://schemas.openxmlformats.org/officeDocument/2006/relationships/tags" Target="../tags/tag155.xml"/><Relationship Id="rId16" Type="http://schemas.openxmlformats.org/officeDocument/2006/relationships/image" Target="../media/image68.gif"/><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3.xml"/><Relationship Id="rId5" Type="http://schemas.openxmlformats.org/officeDocument/2006/relationships/tags" Target="../tags/tag158.xml"/><Relationship Id="rId15" Type="http://schemas.openxmlformats.org/officeDocument/2006/relationships/image" Target="../media/image67.png"/><Relationship Id="rId10" Type="http://schemas.openxmlformats.org/officeDocument/2006/relationships/video" Target="NULL" TargetMode="Externa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73.pn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72.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71.png"/><Relationship Id="rId5" Type="http://schemas.openxmlformats.org/officeDocument/2006/relationships/tags" Target="../tags/tag168.xml"/><Relationship Id="rId10" Type="http://schemas.openxmlformats.org/officeDocument/2006/relationships/image" Target="../media/image70.png"/><Relationship Id="rId4" Type="http://schemas.openxmlformats.org/officeDocument/2006/relationships/tags" Target="../tags/tag167.xml"/><Relationship Id="rId9"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73.xml"/><Relationship Id="rId7" Type="http://schemas.openxmlformats.org/officeDocument/2006/relationships/notesSlide" Target="../notesSlides/notesSlide32.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Layout" Target="../slideLayouts/slideLayout7.xml"/><Relationship Id="rId5" Type="http://schemas.openxmlformats.org/officeDocument/2006/relationships/tags" Target="../tags/tag175.xml"/><Relationship Id="rId10" Type="http://schemas.openxmlformats.org/officeDocument/2006/relationships/image" Target="../media/image76.png"/><Relationship Id="rId4" Type="http://schemas.openxmlformats.org/officeDocument/2006/relationships/tags" Target="../tags/tag174.xml"/><Relationship Id="rId9"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9.xml"/><Relationship Id="rId1" Type="http://schemas.openxmlformats.org/officeDocument/2006/relationships/tags" Target="../tags/tag178.xml"/><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6.png"/><Relationship Id="rId5" Type="http://schemas.openxmlformats.org/officeDocument/2006/relationships/tags" Target="../tags/tag15.xml"/><Relationship Id="rId10" Type="http://schemas.openxmlformats.org/officeDocument/2006/relationships/image" Target="../media/image15.jpeg"/><Relationship Id="rId4" Type="http://schemas.openxmlformats.org/officeDocument/2006/relationships/tags" Target="../tags/tag14.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0.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9.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8.png"/><Relationship Id="rId5" Type="http://schemas.openxmlformats.org/officeDocument/2006/relationships/tags" Target="../tags/tag22.xml"/><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tags" Target="../tags/tag21.xml"/><Relationship Id="rId9" Type="http://schemas.openxmlformats.org/officeDocument/2006/relationships/notesSlide" Target="../notesSlides/notesSlide4.xml"/><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24.png"/><Relationship Id="rId17" Type="http://schemas.openxmlformats.org/officeDocument/2006/relationships/image" Target="../media/image29.jpeg"/><Relationship Id="rId2" Type="http://schemas.openxmlformats.org/officeDocument/2006/relationships/tags" Target="../tags/tag26.xml"/><Relationship Id="rId16" Type="http://schemas.openxmlformats.org/officeDocument/2006/relationships/image" Target="../media/image28.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3.jpeg"/><Relationship Id="rId5" Type="http://schemas.openxmlformats.org/officeDocument/2006/relationships/tags" Target="../tags/tag29.xml"/><Relationship Id="rId15" Type="http://schemas.openxmlformats.org/officeDocument/2006/relationships/image" Target="../media/image27.png"/><Relationship Id="rId10" Type="http://schemas.openxmlformats.org/officeDocument/2006/relationships/notesSlide" Target="../notesSlides/notesSlide5.xml"/><Relationship Id="rId4" Type="http://schemas.openxmlformats.org/officeDocument/2006/relationships/tags" Target="../tags/tag28.xml"/><Relationship Id="rId9" Type="http://schemas.openxmlformats.org/officeDocument/2006/relationships/slideLayout" Target="../slideLayouts/slideLayout7.xml"/><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tags" Target="../tags/tag35.xml"/><Relationship Id="rId7" Type="http://schemas.openxmlformats.org/officeDocument/2006/relationships/notesSlide" Target="../notesSlides/notesSlide6.xml"/><Relationship Id="rId12" Type="http://schemas.openxmlformats.org/officeDocument/2006/relationships/image" Target="../media/image34.png"/><Relationship Id="rId2" Type="http://schemas.openxmlformats.org/officeDocument/2006/relationships/tags" Target="../tags/tag34.xml"/><Relationship Id="rId16" Type="http://schemas.microsoft.com/office/2007/relationships/hdphoto" Target="../media/hdphoto2.wdp"/><Relationship Id="rId1" Type="http://schemas.openxmlformats.org/officeDocument/2006/relationships/tags" Target="../tags/tag33.xml"/><Relationship Id="rId6" Type="http://schemas.openxmlformats.org/officeDocument/2006/relationships/slideLayout" Target="../slideLayouts/slideLayout7.xml"/><Relationship Id="rId11" Type="http://schemas.openxmlformats.org/officeDocument/2006/relationships/image" Target="../media/image33.png"/><Relationship Id="rId5" Type="http://schemas.openxmlformats.org/officeDocument/2006/relationships/tags" Target="../tags/tag37.xml"/><Relationship Id="rId15" Type="http://schemas.openxmlformats.org/officeDocument/2006/relationships/image" Target="../media/image37.png"/><Relationship Id="rId10" Type="http://schemas.microsoft.com/office/2007/relationships/hdphoto" Target="../media/hdphoto1.wdp"/><Relationship Id="rId4" Type="http://schemas.openxmlformats.org/officeDocument/2006/relationships/tags" Target="../tags/tag36.xml"/><Relationship Id="rId9" Type="http://schemas.openxmlformats.org/officeDocument/2006/relationships/image" Target="../media/image32.png"/><Relationship Id="rId1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40.png"/><Relationship Id="rId3" Type="http://schemas.openxmlformats.org/officeDocument/2006/relationships/tags" Target="../tags/tag40.xml"/><Relationship Id="rId7" Type="http://schemas.openxmlformats.org/officeDocument/2006/relationships/slideLayout" Target="../slideLayouts/slideLayout7.xml"/><Relationship Id="rId12" Type="http://schemas.openxmlformats.org/officeDocument/2006/relationships/image" Target="../media/image39.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38.png"/><Relationship Id="rId5" Type="http://schemas.openxmlformats.org/officeDocument/2006/relationships/tags" Target="../tags/tag42.xml"/><Relationship Id="rId10" Type="http://schemas.openxmlformats.org/officeDocument/2006/relationships/image" Target="../media/image34.png"/><Relationship Id="rId4" Type="http://schemas.openxmlformats.org/officeDocument/2006/relationships/tags" Target="../tags/tag41.xml"/><Relationship Id="rId9" Type="http://schemas.openxmlformats.org/officeDocument/2006/relationships/image" Target="../media/image19.png"/><Relationship Id="rId1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2.gi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notesSlide" Target="../notesSlides/notesSlide8.xml"/><Relationship Id="rId5" Type="http://schemas.openxmlformats.org/officeDocument/2006/relationships/slideLayout" Target="../slideLayouts/slideLayout7.xml"/><Relationship Id="rId4"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5" name="Shape 81">
            <a:extLst>
              <a:ext uri="{FF2B5EF4-FFF2-40B4-BE49-F238E27FC236}">
                <a16:creationId xmlns:a16="http://schemas.microsoft.com/office/drawing/2014/main" id="{0EB83274-0C7B-1A4B-AA35-1F1E649DB019}"/>
              </a:ext>
            </a:extLst>
          </p:cNvPr>
          <p:cNvSpPr txBox="1">
            <a:spLocks/>
          </p:cNvSpPr>
          <p:nvPr>
            <p:custDataLst>
              <p:tags r:id="rId1"/>
            </p:custDataLst>
          </p:nvPr>
        </p:nvSpPr>
        <p:spPr>
          <a:xfrm>
            <a:off x="188183" y="4246744"/>
            <a:ext cx="7698517" cy="869851"/>
          </a:xfrm>
          <a:prstGeom prst="rect">
            <a:avLst/>
          </a:prstGeom>
          <a:noFill/>
          <a:ln>
            <a:noFill/>
          </a:ln>
        </p:spPr>
        <p:txBody>
          <a:bodyPr wrap="square" lIns="68569" tIns="68569" rIns="68569" bIns="68569"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434343"/>
              </a:buClr>
              <a:buSzPts val="4800"/>
              <a:buFont typeface="Lato Hairline"/>
              <a:buNone/>
              <a:defRPr sz="4800" b="0" i="0" u="none" strike="noStrike" cap="none">
                <a:solidFill>
                  <a:srgbClr val="434343"/>
                </a:solidFill>
                <a:latin typeface="Arial" charset="0"/>
                <a:ea typeface="Arial" charset="0"/>
                <a:cs typeface="Arial" charset="0"/>
                <a:sym typeface="Lato Hairline"/>
              </a:defRPr>
            </a:lvl1pPr>
            <a:lvl2pPr lvl="1">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2pPr>
            <a:lvl3pPr lvl="2">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3pPr>
            <a:lvl4pPr lvl="3">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4pPr>
            <a:lvl5pPr lvl="4">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5pPr>
            <a:lvl6pPr lvl="5">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6pPr>
            <a:lvl7pPr lvl="6">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7pPr>
            <a:lvl8pPr lvl="7">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8pPr>
            <a:lvl9pPr lvl="8">
              <a:spcBef>
                <a:spcPts val="0"/>
              </a:spcBef>
              <a:buClr>
                <a:srgbClr val="434343"/>
              </a:buClr>
              <a:buSzPts val="4800"/>
              <a:buFont typeface="Lato Hairline"/>
              <a:buNone/>
              <a:defRPr sz="4800">
                <a:solidFill>
                  <a:srgbClr val="434343"/>
                </a:solidFill>
                <a:latin typeface="Lato Hairline"/>
                <a:ea typeface="Lato Hairline"/>
                <a:cs typeface="Lato Hairline"/>
                <a:sym typeface="Lato Hairline"/>
              </a:defRPr>
            </a:lvl9pPr>
          </a:lstStyle>
          <a:p>
            <a:r>
              <a:rPr lang="nl-BE" sz="3600">
                <a:solidFill>
                  <a:srgbClr val="7030A0"/>
                </a:solidFill>
                <a:latin typeface="Helvetica" pitchFamily="2" charset="0"/>
                <a:ea typeface="+mn-ea"/>
                <a:cs typeface="Arial"/>
              </a:rPr>
              <a:t>Covid Applications </a:t>
            </a:r>
            <a:r>
              <a:rPr lang="nl-BE" sz="3600" err="1">
                <a:solidFill>
                  <a:srgbClr val="7030A0"/>
                </a:solidFill>
                <a:latin typeface="Helvetica" pitchFamily="2" charset="0"/>
                <a:ea typeface="+mn-ea"/>
                <a:cs typeface="Arial"/>
              </a:rPr>
              <a:t>and</a:t>
            </a:r>
            <a:r>
              <a:rPr lang="nl-BE" sz="3600">
                <a:solidFill>
                  <a:srgbClr val="7030A0"/>
                </a:solidFill>
                <a:latin typeface="Helvetica" pitchFamily="2" charset="0"/>
                <a:ea typeface="+mn-ea"/>
                <a:cs typeface="Arial"/>
              </a:rPr>
              <a:t> QR Codes</a:t>
            </a:r>
            <a:endParaRPr lang="en" sz="3600">
              <a:solidFill>
                <a:srgbClr val="7030A0"/>
              </a:solidFill>
              <a:latin typeface="Helvetica" pitchFamily="2" charset="0"/>
              <a:ea typeface="+mn-ea"/>
              <a:cs typeface="Arial"/>
            </a:endParaRPr>
          </a:p>
        </p:txBody>
      </p:sp>
    </p:spTree>
    <p:extLst>
      <p:ext uri="{BB962C8B-B14F-4D97-AF65-F5344CB8AC3E}">
        <p14:creationId xmlns:p14="http://schemas.microsoft.com/office/powerpoint/2010/main" val="3316875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1" y="294427"/>
            <a:ext cx="8233139" cy="1200329"/>
          </a:xfrm>
          <a:prstGeom prst="rect">
            <a:avLst/>
          </a:prstGeom>
          <a:noFill/>
        </p:spPr>
        <p:txBody>
          <a:bodyPr wrap="square" rtlCol="0">
            <a:spAutoFit/>
          </a:bodyPr>
          <a:lstStyle/>
          <a:p>
            <a:r>
              <a:rPr lang="en-US" sz="3600">
                <a:solidFill>
                  <a:srgbClr val="7030A0"/>
                </a:solidFill>
                <a:latin typeface="Helvetica" pitchFamily="2" charset="0"/>
              </a:rPr>
              <a:t>1. Applications comparatives</a:t>
            </a:r>
          </a:p>
          <a:p>
            <a:endParaRPr lang="en-US" sz="3600">
              <a:solidFill>
                <a:srgbClr val="7030A0"/>
              </a:solidFill>
              <a:latin typeface="Helvetica" pitchFamily="2" charset="0"/>
              <a:cs typeface="Arial"/>
              <a:sym typeface="Arial"/>
            </a:endParaRPr>
          </a:p>
        </p:txBody>
      </p:sp>
      <p:graphicFrame>
        <p:nvGraphicFramePr>
          <p:cNvPr id="2" name="Table 2">
            <a:extLst>
              <a:ext uri="{FF2B5EF4-FFF2-40B4-BE49-F238E27FC236}">
                <a16:creationId xmlns:a16="http://schemas.microsoft.com/office/drawing/2014/main" id="{6A0EECAD-3F4D-4D4D-85CD-0E1ABE4D71F3}"/>
              </a:ext>
            </a:extLst>
          </p:cNvPr>
          <p:cNvGraphicFramePr>
            <a:graphicFrameLocks noGrp="1"/>
          </p:cNvGraphicFramePr>
          <p:nvPr>
            <p:custDataLst>
              <p:tags r:id="rId2"/>
            </p:custDataLst>
            <p:extLst>
              <p:ext uri="{D42A27DB-BD31-4B8C-83A1-F6EECF244321}">
                <p14:modId xmlns:p14="http://schemas.microsoft.com/office/powerpoint/2010/main" val="4223239488"/>
              </p:ext>
            </p:extLst>
          </p:nvPr>
        </p:nvGraphicFramePr>
        <p:xfrm>
          <a:off x="569430" y="1278942"/>
          <a:ext cx="8135661" cy="3494903"/>
        </p:xfrm>
        <a:graphic>
          <a:graphicData uri="http://schemas.openxmlformats.org/drawingml/2006/table">
            <a:tbl>
              <a:tblPr firstRow="1" firstCol="1" bandRow="1">
                <a:tableStyleId>{21E4AEA4-8DFA-4A89-87EB-49C32662AFE0}</a:tableStyleId>
              </a:tblPr>
              <a:tblGrid>
                <a:gridCol w="531216">
                  <a:extLst>
                    <a:ext uri="{9D8B030D-6E8A-4147-A177-3AD203B41FA5}">
                      <a16:colId xmlns:a16="http://schemas.microsoft.com/office/drawing/2014/main" val="492718851"/>
                    </a:ext>
                  </a:extLst>
                </a:gridCol>
                <a:gridCol w="1612178">
                  <a:extLst>
                    <a:ext uri="{9D8B030D-6E8A-4147-A177-3AD203B41FA5}">
                      <a16:colId xmlns:a16="http://schemas.microsoft.com/office/drawing/2014/main" val="3751139323"/>
                    </a:ext>
                  </a:extLst>
                </a:gridCol>
                <a:gridCol w="1741895">
                  <a:extLst>
                    <a:ext uri="{9D8B030D-6E8A-4147-A177-3AD203B41FA5}">
                      <a16:colId xmlns:a16="http://schemas.microsoft.com/office/drawing/2014/main" val="2220076160"/>
                    </a:ext>
                  </a:extLst>
                </a:gridCol>
                <a:gridCol w="1724906">
                  <a:extLst>
                    <a:ext uri="{9D8B030D-6E8A-4147-A177-3AD203B41FA5}">
                      <a16:colId xmlns:a16="http://schemas.microsoft.com/office/drawing/2014/main" val="3042035226"/>
                    </a:ext>
                  </a:extLst>
                </a:gridCol>
                <a:gridCol w="2525466">
                  <a:extLst>
                    <a:ext uri="{9D8B030D-6E8A-4147-A177-3AD203B41FA5}">
                      <a16:colId xmlns:a16="http://schemas.microsoft.com/office/drawing/2014/main" val="4227640751"/>
                    </a:ext>
                  </a:extLst>
                </a:gridCol>
              </a:tblGrid>
              <a:tr h="486714">
                <a:tc gridSpan="2">
                  <a:txBody>
                    <a:bodyPr/>
                    <a:lstStyle/>
                    <a:p>
                      <a:pPr algn="ctr"/>
                      <a:endParaRPr lang="en-BE"/>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BE"/>
                    </a:p>
                  </a:txBody>
                  <a:tcPr/>
                </a:tc>
                <a:tc>
                  <a:txBody>
                    <a:bodyPr/>
                    <a:lstStyle/>
                    <a:p>
                      <a:pPr algn="ctr"/>
                      <a:r>
                        <a:rPr lang="en-US"/>
                        <a:t>Obtain </a:t>
                      </a:r>
                    </a:p>
                    <a:p>
                      <a:pPr algn="ctr"/>
                      <a:r>
                        <a:rPr lang="en-US"/>
                        <a:t>Covid Certificate</a:t>
                      </a:r>
                      <a:endParaRPr lang="en-BE"/>
                    </a:p>
                  </a:txBody>
                  <a:tcPr anchor="ctr">
                    <a:lnL w="12700" cmpd="sng">
                      <a:noFill/>
                    </a:ln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Check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a:t>Covid Certificate</a:t>
                      </a:r>
                      <a:endParaRPr lang="en-BE"/>
                    </a:p>
                  </a:txBody>
                  <a:tcPr anchor="ctr"/>
                </a:tc>
                <a:tc>
                  <a:txBody>
                    <a:bodyPr/>
                    <a:lstStyle/>
                    <a:p>
                      <a:pPr algn="ctr"/>
                      <a:r>
                        <a:rPr lang="en-US"/>
                        <a:t>Covid case alert</a:t>
                      </a:r>
                      <a:endParaRPr lang="en-BE"/>
                    </a:p>
                  </a:txBody>
                  <a:tcPr anchor="ctr"/>
                </a:tc>
                <a:extLst>
                  <a:ext uri="{0D108BD9-81ED-4DB2-BD59-A6C34878D82A}">
                    <a16:rowId xmlns:a16="http://schemas.microsoft.com/office/drawing/2014/main" val="2226489969"/>
                  </a:ext>
                </a:extLst>
              </a:tr>
              <a:tr h="287604">
                <a:tc rowSpan="3">
                  <a:txBody>
                    <a:bodyPr/>
                    <a:lstStyle/>
                    <a:p>
                      <a:pPr algn="ctr"/>
                      <a:r>
                        <a:rPr lang="en-US"/>
                        <a:t>BE</a:t>
                      </a:r>
                      <a:endParaRPr lang="en-BE"/>
                    </a:p>
                  </a:txBody>
                  <a:tcPr anchor="ctr">
                    <a:lnT w="38100" cmpd="sng">
                      <a:noFill/>
                    </a:lnT>
                    <a:solidFill>
                      <a:schemeClr val="accent2">
                        <a:lumMod val="75000"/>
                      </a:schemeClr>
                    </a:solidFill>
                  </a:tcPr>
                </a:tc>
                <a:tc>
                  <a:txBody>
                    <a:bodyPr/>
                    <a:lstStyle/>
                    <a:p>
                      <a:pPr algn="ctr"/>
                      <a:r>
                        <a:rPr lang="en-US" sz="1350" b="1" kern="1200">
                          <a:solidFill>
                            <a:schemeClr val="lt1"/>
                          </a:solidFill>
                          <a:latin typeface="+mn-lt"/>
                          <a:ea typeface="+mn-ea"/>
                          <a:cs typeface="+mn-cs"/>
                        </a:rPr>
                        <a:t>Coronalert</a:t>
                      </a:r>
                      <a:endParaRPr lang="en-BE" sz="1350" b="1" kern="1200">
                        <a:solidFill>
                          <a:schemeClr val="lt1"/>
                        </a:solidFill>
                        <a:latin typeface="+mn-lt"/>
                        <a:ea typeface="+mn-ea"/>
                        <a:cs typeface="+mn-cs"/>
                      </a:endParaRPr>
                    </a:p>
                  </a:txBody>
                  <a:tcPr anchor="ctr">
                    <a:lnT w="38100" cmpd="sng">
                      <a:noFill/>
                    </a:lnT>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algn="ctr"/>
                      <a:r>
                        <a:rPr lang="en-US"/>
                        <a:t>✔</a:t>
                      </a:r>
                      <a:endParaRPr lang="en-BE"/>
                    </a:p>
                  </a:txBody>
                  <a:tcPr anchor="ctr">
                    <a:solidFill>
                      <a:schemeClr val="accent2">
                        <a:lumMod val="40000"/>
                        <a:lumOff val="60000"/>
                      </a:schemeClr>
                    </a:solidFill>
                  </a:tcPr>
                </a:tc>
                <a:extLst>
                  <a:ext uri="{0D108BD9-81ED-4DB2-BD59-A6C34878D82A}">
                    <a16:rowId xmlns:a16="http://schemas.microsoft.com/office/drawing/2014/main" val="212318967"/>
                  </a:ext>
                </a:extLst>
              </a:tr>
              <a:tr h="287604">
                <a:tc vMerge="1">
                  <a:txBody>
                    <a:bodyPr/>
                    <a:lstStyle/>
                    <a:p>
                      <a:endParaRPr lang="en-BE"/>
                    </a:p>
                  </a:txBody>
                  <a:tcPr/>
                </a:tc>
                <a:tc>
                  <a:txBody>
                    <a:bodyPr/>
                    <a:lstStyle/>
                    <a:p>
                      <a:pPr algn="ctr"/>
                      <a:r>
                        <a:rPr lang="en-US" sz="1350" b="1" kern="1200" err="1">
                          <a:solidFill>
                            <a:schemeClr val="lt1"/>
                          </a:solidFill>
                          <a:latin typeface="+mn-lt"/>
                          <a:ea typeface="+mn-ea"/>
                          <a:cs typeface="+mn-cs"/>
                        </a:rPr>
                        <a:t>CovidSafeBE</a:t>
                      </a:r>
                      <a:endParaRPr lang="en-BE" sz="1350" b="1" kern="1200">
                        <a:solidFill>
                          <a:schemeClr val="lt1"/>
                        </a:solidFill>
                        <a:latin typeface="+mn-lt"/>
                        <a:ea typeface="+mn-ea"/>
                        <a:cs typeface="+mn-cs"/>
                      </a:endParaRPr>
                    </a:p>
                  </a:txBody>
                  <a:tcPr anchor="ctr">
                    <a:solidFill>
                      <a:schemeClr val="accent2"/>
                    </a:solidFill>
                  </a:tcPr>
                </a:tc>
                <a:tc>
                  <a:txBody>
                    <a:bodyPr/>
                    <a:lstStyle/>
                    <a:p>
                      <a:pPr algn="ctr"/>
                      <a:r>
                        <a:rPr lang="en-US"/>
                        <a:t>✔</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925122870"/>
                  </a:ext>
                </a:extLst>
              </a:tr>
              <a:tr h="287604">
                <a:tc vMerge="1">
                  <a:txBody>
                    <a:bodyPr/>
                    <a:lstStyle/>
                    <a:p>
                      <a:endParaRPr lang="en-BE"/>
                    </a:p>
                  </a:txBody>
                  <a:tcPr/>
                </a:tc>
                <a:tc>
                  <a:txBody>
                    <a:bodyPr/>
                    <a:lstStyle/>
                    <a:p>
                      <a:pPr algn="ctr"/>
                      <a:r>
                        <a:rPr lang="en-US" sz="1350" b="1" kern="1200" err="1">
                          <a:solidFill>
                            <a:schemeClr val="lt1"/>
                          </a:solidFill>
                          <a:latin typeface="+mn-lt"/>
                          <a:ea typeface="+mn-ea"/>
                          <a:cs typeface="+mn-cs"/>
                        </a:rPr>
                        <a:t>CovidScanBE</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a:t>
                      </a:r>
                      <a:endParaRPr lang="en-BE"/>
                    </a:p>
                  </a:txBody>
                  <a:tcPr anchor="ctr">
                    <a:solidFill>
                      <a:schemeClr val="accent2">
                        <a:lumMod val="40000"/>
                        <a:lumOff val="60000"/>
                      </a:schemeClr>
                    </a:solidFill>
                  </a:tcPr>
                </a:tc>
                <a:tc>
                  <a:txBody>
                    <a:bodyPr/>
                    <a:lstStyle/>
                    <a:p>
                      <a:pPr algn="ctr"/>
                      <a:r>
                        <a:rPr lang="en-US"/>
                        <a:t>✔</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635143750"/>
                  </a:ext>
                </a:extLst>
              </a:tr>
              <a:tr h="335823">
                <a:tc rowSpan="2">
                  <a:txBody>
                    <a:bodyPr/>
                    <a:lstStyle/>
                    <a:p>
                      <a:pPr algn="ctr"/>
                      <a:r>
                        <a:rPr lang="en-US"/>
                        <a:t>FR</a:t>
                      </a:r>
                      <a:endParaRPr lang="en-BE"/>
                    </a:p>
                  </a:txBody>
                  <a:tcPr anchor="ctr">
                    <a:solidFill>
                      <a:schemeClr val="accent2">
                        <a:lumMod val="75000"/>
                      </a:schemeClr>
                    </a:solidFill>
                  </a:tcPr>
                </a:tc>
                <a:tc>
                  <a:txBody>
                    <a:bodyPr/>
                    <a:lstStyle/>
                    <a:p>
                      <a:pPr algn="ctr"/>
                      <a:r>
                        <a:rPr lang="en-US" sz="1350" b="1" kern="1200" err="1">
                          <a:solidFill>
                            <a:schemeClr val="lt1"/>
                          </a:solidFill>
                          <a:latin typeface="+mn-lt"/>
                          <a:ea typeface="+mn-ea"/>
                          <a:cs typeface="+mn-cs"/>
                        </a:rPr>
                        <a:t>TousAntiCovid</a:t>
                      </a:r>
                      <a:endParaRPr lang="en-BE" sz="1350" b="1" kern="1200">
                        <a:solidFill>
                          <a:schemeClr val="lt1"/>
                        </a:solidFill>
                        <a:latin typeface="+mn-lt"/>
                        <a:ea typeface="+mn-ea"/>
                        <a:cs typeface="+mn-cs"/>
                      </a:endParaRPr>
                    </a:p>
                  </a:txBody>
                  <a:tcPr anchor="ctr">
                    <a:solidFill>
                      <a:schemeClr val="accent2"/>
                    </a:solidFill>
                  </a:tcPr>
                </a:tc>
                <a:tc>
                  <a:txBody>
                    <a:bodyPr/>
                    <a:lstStyle/>
                    <a:p>
                      <a:pPr algn="ctr"/>
                      <a:r>
                        <a:rPr lang="en-US"/>
                        <a:t>✔</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algn="ctr"/>
                      <a:r>
                        <a:rPr lang="en-US"/>
                        <a:t>✔</a:t>
                      </a:r>
                      <a:endParaRPr lang="en-BE"/>
                    </a:p>
                  </a:txBody>
                  <a:tcPr anchor="ctr">
                    <a:solidFill>
                      <a:schemeClr val="accent2">
                        <a:lumMod val="40000"/>
                        <a:lumOff val="60000"/>
                      </a:schemeClr>
                    </a:solidFill>
                  </a:tcPr>
                </a:tc>
                <a:extLst>
                  <a:ext uri="{0D108BD9-81ED-4DB2-BD59-A6C34878D82A}">
                    <a16:rowId xmlns:a16="http://schemas.microsoft.com/office/drawing/2014/main" val="560187771"/>
                  </a:ext>
                </a:extLst>
              </a:tr>
              <a:tr h="393723">
                <a:tc vMerge="1">
                  <a:txBody>
                    <a:bodyPr/>
                    <a:lstStyle/>
                    <a:p>
                      <a:endParaRPr lang="en-BE"/>
                    </a:p>
                  </a:txBody>
                  <a:tcPr/>
                </a:tc>
                <a:tc>
                  <a:txBody>
                    <a:bodyPr/>
                    <a:lstStyle/>
                    <a:p>
                      <a:r>
                        <a:rPr lang="en-US" sz="1350" b="1" kern="1200">
                          <a:solidFill>
                            <a:schemeClr val="lt1"/>
                          </a:solidFill>
                          <a:latin typeface="+mn-lt"/>
                          <a:ea typeface="+mn-ea"/>
                          <a:cs typeface="+mn-cs"/>
                        </a:rPr>
                        <a:t>TousAntiCovid Verif</a:t>
                      </a:r>
                      <a:endParaRPr lang="en-BE"/>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2868095645"/>
                  </a:ext>
                </a:extLst>
              </a:tr>
              <a:tr h="479357">
                <a:tc>
                  <a:txBody>
                    <a:bodyPr/>
                    <a:lstStyle/>
                    <a:p>
                      <a:pPr algn="ctr"/>
                      <a:r>
                        <a:rPr lang="en-US"/>
                        <a:t>LU</a:t>
                      </a:r>
                      <a:endParaRPr lang="en-BE"/>
                    </a:p>
                  </a:txBody>
                  <a:tcPr anchor="ctr">
                    <a:solidFill>
                      <a:schemeClr val="accent2">
                        <a:lumMod val="75000"/>
                      </a:schemeClr>
                    </a:solidFill>
                  </a:tcPr>
                </a:tc>
                <a:tc>
                  <a:txBody>
                    <a:bodyPr/>
                    <a:lstStyle/>
                    <a:p>
                      <a:pPr algn="ctr"/>
                      <a:r>
                        <a:rPr lang="en-US" sz="1350" b="1" kern="1200">
                          <a:solidFill>
                            <a:schemeClr val="lt1"/>
                          </a:solidFill>
                          <a:latin typeface="+mn-lt"/>
                          <a:ea typeface="+mn-ea"/>
                          <a:cs typeface="+mn-cs"/>
                        </a:rPr>
                        <a:t>CovidCheck.lu</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1214844597"/>
                  </a:ext>
                </a:extLst>
              </a:tr>
              <a:tr h="287604">
                <a:tc rowSpan="3">
                  <a:txBody>
                    <a:bodyPr/>
                    <a:lstStyle/>
                    <a:p>
                      <a:pPr algn="ctr"/>
                      <a:r>
                        <a:rPr lang="fr-FR"/>
                        <a:t>DE</a:t>
                      </a:r>
                      <a:endParaRPr lang="en-BE"/>
                    </a:p>
                  </a:txBody>
                  <a:tcPr anchor="ctr">
                    <a:solidFill>
                      <a:schemeClr val="accent2">
                        <a:lumMod val="75000"/>
                      </a:schemeClr>
                    </a:solidFill>
                  </a:tcPr>
                </a:tc>
                <a:tc>
                  <a:txBody>
                    <a:bodyPr/>
                    <a:lstStyle/>
                    <a:p>
                      <a:pPr algn="ctr"/>
                      <a:r>
                        <a:rPr lang="fr-FR" sz="1350" b="1" kern="1200">
                          <a:solidFill>
                            <a:schemeClr val="lt1"/>
                          </a:solidFill>
                          <a:latin typeface="+mn-lt"/>
                          <a:ea typeface="+mn-ea"/>
                          <a:cs typeface="+mn-cs"/>
                        </a:rPr>
                        <a:t>Corona </a:t>
                      </a:r>
                      <a:r>
                        <a:rPr lang="fr-FR" sz="1350" b="1" kern="1200" err="1">
                          <a:solidFill>
                            <a:schemeClr val="lt1"/>
                          </a:solidFill>
                          <a:latin typeface="+mn-lt"/>
                          <a:ea typeface="+mn-ea"/>
                          <a:cs typeface="+mn-cs"/>
                        </a:rPr>
                        <a:t>Warn</a:t>
                      </a:r>
                      <a:r>
                        <a:rPr lang="fr-FR" sz="1350" b="1" kern="1200">
                          <a:solidFill>
                            <a:schemeClr val="lt1"/>
                          </a:solidFill>
                          <a:latin typeface="+mn-lt"/>
                          <a:ea typeface="+mn-ea"/>
                          <a:cs typeface="+mn-cs"/>
                        </a:rPr>
                        <a:t> App</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763187678"/>
                  </a:ext>
                </a:extLst>
              </a:tr>
              <a:tr h="287604">
                <a:tc vMerge="1">
                  <a:txBody>
                    <a:bodyPr/>
                    <a:lstStyle/>
                    <a:p>
                      <a:endParaRPr lang="en-BE"/>
                    </a:p>
                  </a:txBody>
                  <a:tcPr/>
                </a:tc>
                <a:tc>
                  <a:txBody>
                    <a:bodyPr/>
                    <a:lstStyle/>
                    <a:p>
                      <a:pPr algn="ctr"/>
                      <a:r>
                        <a:rPr lang="en-US" sz="1350" b="1" kern="1200">
                          <a:solidFill>
                            <a:schemeClr val="lt1"/>
                          </a:solidFill>
                          <a:latin typeface="+mn-lt"/>
                          <a:ea typeface="+mn-ea"/>
                          <a:cs typeface="+mn-cs"/>
                        </a:rPr>
                        <a:t>CovPass</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1246126441"/>
                  </a:ext>
                </a:extLst>
              </a:tr>
              <a:tr h="287604">
                <a:tc vMerge="1">
                  <a:txBody>
                    <a:bodyPr/>
                    <a:lstStyle/>
                    <a:p>
                      <a:endParaRPr lang="en-BE"/>
                    </a:p>
                  </a:txBody>
                  <a:tcPr/>
                </a:tc>
                <a:tc>
                  <a:txBody>
                    <a:bodyPr/>
                    <a:lstStyle/>
                    <a:p>
                      <a:pPr algn="ctr"/>
                      <a:r>
                        <a:rPr lang="en-US" sz="1350" b="1" kern="1200">
                          <a:solidFill>
                            <a:schemeClr val="lt1"/>
                          </a:solidFill>
                          <a:latin typeface="+mn-lt"/>
                          <a:ea typeface="+mn-ea"/>
                          <a:cs typeface="+mn-cs"/>
                        </a:rPr>
                        <a:t>CovPassCheck</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1963559572"/>
                  </a:ext>
                </a:extLst>
              </a:tr>
            </a:tbl>
          </a:graphicData>
        </a:graphic>
      </p:graphicFrame>
      <p:sp>
        <p:nvSpPr>
          <p:cNvPr id="5" name="TextBox 23">
            <a:extLst>
              <a:ext uri="{FF2B5EF4-FFF2-40B4-BE49-F238E27FC236}">
                <a16:creationId xmlns:a16="http://schemas.microsoft.com/office/drawing/2014/main" id="{8B42332C-E03B-4F53-B7CE-BC37999C8DC8}"/>
              </a:ext>
            </a:extLst>
          </p:cNvPr>
          <p:cNvSpPr txBox="1"/>
          <p:nvPr>
            <p:custDataLst>
              <p:tags r:id="rId3"/>
            </p:custDataLst>
          </p:nvPr>
        </p:nvSpPr>
        <p:spPr>
          <a:xfrm>
            <a:off x="654225" y="878832"/>
            <a:ext cx="2457781" cy="400110"/>
          </a:xfrm>
          <a:prstGeom prst="rect">
            <a:avLst/>
          </a:prstGeom>
          <a:noFill/>
        </p:spPr>
        <p:txBody>
          <a:bodyPr wrap="square" rtlCol="0">
            <a:spAutoFit/>
          </a:bodyPr>
          <a:lstStyle/>
          <a:p>
            <a:r>
              <a:rPr lang="en-US" sz="2000" b="1">
                <a:solidFill>
                  <a:srgbClr val="B5B1D9"/>
                </a:solidFill>
                <a:latin typeface="Helvetica" pitchFamily="2" charset="0"/>
                <a:cs typeface="Arial"/>
                <a:sym typeface="Arial"/>
              </a:rPr>
              <a:t>What can it do?</a:t>
            </a:r>
          </a:p>
        </p:txBody>
      </p:sp>
      <p:grpSp>
        <p:nvGrpSpPr>
          <p:cNvPr id="17" name="Group 16">
            <a:extLst>
              <a:ext uri="{FF2B5EF4-FFF2-40B4-BE49-F238E27FC236}">
                <a16:creationId xmlns:a16="http://schemas.microsoft.com/office/drawing/2014/main" id="{A259B8C5-CF0E-41D6-87C9-38ADA558328A}"/>
              </a:ext>
            </a:extLst>
          </p:cNvPr>
          <p:cNvGrpSpPr/>
          <p:nvPr>
            <p:custDataLst>
              <p:tags r:id="rId4"/>
            </p:custDataLst>
          </p:nvPr>
        </p:nvGrpSpPr>
        <p:grpSpPr>
          <a:xfrm>
            <a:off x="129470" y="2118821"/>
            <a:ext cx="345864" cy="2263157"/>
            <a:chOff x="109089" y="2259750"/>
            <a:chExt cx="360000" cy="2355660"/>
          </a:xfrm>
        </p:grpSpPr>
        <p:pic>
          <p:nvPicPr>
            <p:cNvPr id="9" name="Picture 8" descr="Shape, background pattern, rectangle&#10;&#10;Description automatically generated">
              <a:extLst>
                <a:ext uri="{FF2B5EF4-FFF2-40B4-BE49-F238E27FC236}">
                  <a16:creationId xmlns:a16="http://schemas.microsoft.com/office/drawing/2014/main" id="{838E8CFE-3FEB-4510-88BD-A3FA6017B27F}"/>
                </a:ext>
              </a:extLst>
            </p:cNvPr>
            <p:cNvPicPr>
              <a:picLocks noChangeAspect="1"/>
            </p:cNvPicPr>
            <p:nvPr/>
          </p:nvPicPr>
          <p:blipFill>
            <a:blip r:embed="rId7"/>
            <a:stretch>
              <a:fillRect/>
            </a:stretch>
          </p:blipFill>
          <p:spPr>
            <a:xfrm>
              <a:off x="109089" y="4399410"/>
              <a:ext cx="360000" cy="216000"/>
            </a:xfrm>
            <a:prstGeom prst="rect">
              <a:avLst/>
            </a:prstGeom>
          </p:spPr>
        </p:pic>
        <p:pic>
          <p:nvPicPr>
            <p:cNvPr id="11" name="Picture 10" descr="Background pattern&#10;&#10;Description automatically generated with medium confidence">
              <a:extLst>
                <a:ext uri="{FF2B5EF4-FFF2-40B4-BE49-F238E27FC236}">
                  <a16:creationId xmlns:a16="http://schemas.microsoft.com/office/drawing/2014/main" id="{1D49FA15-0762-42CC-A7BF-067E5B9CD9CF}"/>
                </a:ext>
              </a:extLst>
            </p:cNvPr>
            <p:cNvPicPr>
              <a:picLocks noChangeAspect="1"/>
            </p:cNvPicPr>
            <p:nvPr/>
          </p:nvPicPr>
          <p:blipFill>
            <a:blip r:embed="rId8"/>
            <a:stretch>
              <a:fillRect/>
            </a:stretch>
          </p:blipFill>
          <p:spPr>
            <a:xfrm>
              <a:off x="109089" y="2259750"/>
              <a:ext cx="360000" cy="312000"/>
            </a:xfrm>
            <a:prstGeom prst="rect">
              <a:avLst/>
            </a:prstGeom>
          </p:spPr>
        </p:pic>
        <p:pic>
          <p:nvPicPr>
            <p:cNvPr id="13" name="Picture 12" descr="Shape, rectangle&#10;&#10;Description automatically generated">
              <a:extLst>
                <a:ext uri="{FF2B5EF4-FFF2-40B4-BE49-F238E27FC236}">
                  <a16:creationId xmlns:a16="http://schemas.microsoft.com/office/drawing/2014/main" id="{43ED2155-F9D3-41A6-8A92-61494F26F6D9}"/>
                </a:ext>
              </a:extLst>
            </p:cNvPr>
            <p:cNvPicPr>
              <a:picLocks noChangeAspect="1"/>
            </p:cNvPicPr>
            <p:nvPr/>
          </p:nvPicPr>
          <p:blipFill>
            <a:blip r:embed="rId9"/>
            <a:stretch>
              <a:fillRect/>
            </a:stretch>
          </p:blipFill>
          <p:spPr>
            <a:xfrm>
              <a:off x="109089" y="3850635"/>
              <a:ext cx="360000" cy="216000"/>
            </a:xfrm>
            <a:prstGeom prst="rect">
              <a:avLst/>
            </a:prstGeom>
          </p:spPr>
        </p:pic>
        <p:pic>
          <p:nvPicPr>
            <p:cNvPr id="16" name="Picture 15" descr="Shape&#10;&#10;Description automatically generated">
              <a:extLst>
                <a:ext uri="{FF2B5EF4-FFF2-40B4-BE49-F238E27FC236}">
                  <a16:creationId xmlns:a16="http://schemas.microsoft.com/office/drawing/2014/main" id="{591E9152-3274-4E76-BBC8-E442CE54F3BE}"/>
                </a:ext>
              </a:extLst>
            </p:cNvPr>
            <p:cNvPicPr>
              <a:picLocks noChangeAspect="1"/>
            </p:cNvPicPr>
            <p:nvPr/>
          </p:nvPicPr>
          <p:blipFill>
            <a:blip r:embed="rId10"/>
            <a:stretch>
              <a:fillRect/>
            </a:stretch>
          </p:blipFill>
          <p:spPr>
            <a:xfrm>
              <a:off x="109089" y="3108456"/>
              <a:ext cx="360000" cy="312000"/>
            </a:xfrm>
            <a:prstGeom prst="rect">
              <a:avLst/>
            </a:prstGeom>
          </p:spPr>
        </p:pic>
      </p:grpSp>
    </p:spTree>
    <p:extLst>
      <p:ext uri="{BB962C8B-B14F-4D97-AF65-F5344CB8AC3E}">
        <p14:creationId xmlns:p14="http://schemas.microsoft.com/office/powerpoint/2010/main" val="3768523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6478112" cy="646331"/>
          </a:xfrm>
          <a:prstGeom prst="rect">
            <a:avLst/>
          </a:prstGeom>
          <a:noFill/>
        </p:spPr>
        <p:txBody>
          <a:bodyPr wrap="square" rtlCol="0">
            <a:spAutoFit/>
          </a:bodyPr>
          <a:lstStyle/>
          <a:p>
            <a:r>
              <a:rPr lang="en-US" sz="3600">
                <a:solidFill>
                  <a:srgbClr val="7030A0"/>
                </a:solidFill>
                <a:latin typeface="Helvetica" pitchFamily="2" charset="0"/>
              </a:rPr>
              <a:t>1. Comparison</a:t>
            </a:r>
            <a:endParaRPr lang="en-US" sz="3600">
              <a:solidFill>
                <a:srgbClr val="7030A0"/>
              </a:solidFill>
              <a:latin typeface="Helvetica" pitchFamily="2" charset="0"/>
              <a:cs typeface="Arial"/>
              <a:sym typeface="Arial"/>
            </a:endParaRPr>
          </a:p>
        </p:txBody>
      </p:sp>
      <p:graphicFrame>
        <p:nvGraphicFramePr>
          <p:cNvPr id="2" name="Table 2">
            <a:extLst>
              <a:ext uri="{FF2B5EF4-FFF2-40B4-BE49-F238E27FC236}">
                <a16:creationId xmlns:a16="http://schemas.microsoft.com/office/drawing/2014/main" id="{6A0EECAD-3F4D-4D4D-85CD-0E1ABE4D71F3}"/>
              </a:ext>
            </a:extLst>
          </p:cNvPr>
          <p:cNvGraphicFramePr>
            <a:graphicFrameLocks noGrp="1"/>
          </p:cNvGraphicFramePr>
          <p:nvPr>
            <p:custDataLst>
              <p:tags r:id="rId2"/>
            </p:custDataLst>
            <p:extLst>
              <p:ext uri="{D42A27DB-BD31-4B8C-83A1-F6EECF244321}">
                <p14:modId xmlns:p14="http://schemas.microsoft.com/office/powerpoint/2010/main" val="4049928491"/>
              </p:ext>
            </p:extLst>
          </p:nvPr>
        </p:nvGraphicFramePr>
        <p:xfrm>
          <a:off x="981124" y="940758"/>
          <a:ext cx="7888557" cy="3540077"/>
        </p:xfrm>
        <a:graphic>
          <a:graphicData uri="http://schemas.openxmlformats.org/drawingml/2006/table">
            <a:tbl>
              <a:tblPr firstRow="1" firstCol="1" bandRow="1">
                <a:tableStyleId>{21E4AEA4-8DFA-4A89-87EB-49C32662AFE0}</a:tableStyleId>
              </a:tblPr>
              <a:tblGrid>
                <a:gridCol w="443219">
                  <a:extLst>
                    <a:ext uri="{9D8B030D-6E8A-4147-A177-3AD203B41FA5}">
                      <a16:colId xmlns:a16="http://schemas.microsoft.com/office/drawing/2014/main" val="492718851"/>
                    </a:ext>
                  </a:extLst>
                </a:gridCol>
                <a:gridCol w="1244516">
                  <a:extLst>
                    <a:ext uri="{9D8B030D-6E8A-4147-A177-3AD203B41FA5}">
                      <a16:colId xmlns:a16="http://schemas.microsoft.com/office/drawing/2014/main" val="3751139323"/>
                    </a:ext>
                  </a:extLst>
                </a:gridCol>
                <a:gridCol w="679866">
                  <a:extLst>
                    <a:ext uri="{9D8B030D-6E8A-4147-A177-3AD203B41FA5}">
                      <a16:colId xmlns:a16="http://schemas.microsoft.com/office/drawing/2014/main" val="2220076160"/>
                    </a:ext>
                  </a:extLst>
                </a:gridCol>
                <a:gridCol w="1051117">
                  <a:extLst>
                    <a:ext uri="{9D8B030D-6E8A-4147-A177-3AD203B41FA5}">
                      <a16:colId xmlns:a16="http://schemas.microsoft.com/office/drawing/2014/main" val="3659120722"/>
                    </a:ext>
                  </a:extLst>
                </a:gridCol>
                <a:gridCol w="1051117">
                  <a:extLst>
                    <a:ext uri="{9D8B030D-6E8A-4147-A177-3AD203B41FA5}">
                      <a16:colId xmlns:a16="http://schemas.microsoft.com/office/drawing/2014/main" val="3042035226"/>
                    </a:ext>
                  </a:extLst>
                </a:gridCol>
                <a:gridCol w="1139574">
                  <a:extLst>
                    <a:ext uri="{9D8B030D-6E8A-4147-A177-3AD203B41FA5}">
                      <a16:colId xmlns:a16="http://schemas.microsoft.com/office/drawing/2014/main" val="865380351"/>
                    </a:ext>
                  </a:extLst>
                </a:gridCol>
                <a:gridCol w="1139574">
                  <a:extLst>
                    <a:ext uri="{9D8B030D-6E8A-4147-A177-3AD203B41FA5}">
                      <a16:colId xmlns:a16="http://schemas.microsoft.com/office/drawing/2014/main" val="2555557491"/>
                    </a:ext>
                  </a:extLst>
                </a:gridCol>
                <a:gridCol w="1139574">
                  <a:extLst>
                    <a:ext uri="{9D8B030D-6E8A-4147-A177-3AD203B41FA5}">
                      <a16:colId xmlns:a16="http://schemas.microsoft.com/office/drawing/2014/main" val="331159357"/>
                    </a:ext>
                  </a:extLst>
                </a:gridCol>
              </a:tblGrid>
              <a:tr h="528697">
                <a:tc gridSpan="2">
                  <a:txBody>
                    <a:bodyPr/>
                    <a:lstStyle/>
                    <a:p>
                      <a:pPr lvl="1" algn="ctr"/>
                      <a:endParaRPr lang="en-BE"/>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BE"/>
                    </a:p>
                  </a:txBody>
                  <a:tcPr/>
                </a:tc>
                <a:tc>
                  <a:txBody>
                    <a:bodyPr/>
                    <a:lstStyle/>
                    <a:p>
                      <a:pPr algn="ctr"/>
                      <a:r>
                        <a:rPr lang="en-US"/>
                        <a:t>GPS</a:t>
                      </a:r>
                      <a:endParaRPr lang="en-BE"/>
                    </a:p>
                  </a:txBody>
                  <a:tcPr anchor="ctr">
                    <a:lnL w="12700" cmpd="sng">
                      <a:noFill/>
                    </a:lnL>
                  </a:tcPr>
                </a:tc>
                <a:tc>
                  <a:txBody>
                    <a:bodyPr/>
                    <a:lstStyle/>
                    <a:p>
                      <a:pPr algn="ctr"/>
                      <a:r>
                        <a:rPr lang="en-US"/>
                        <a:t>Bluetooth</a:t>
                      </a:r>
                      <a:endParaRPr lang="en-BE"/>
                    </a:p>
                  </a:txBody>
                  <a:tcPr anchor="ctr"/>
                </a:tc>
                <a:tc>
                  <a:txBody>
                    <a:bodyPr/>
                    <a:lstStyle/>
                    <a:p>
                      <a:pPr algn="ctr"/>
                      <a:r>
                        <a:rPr lang="en-US"/>
                        <a:t>Contact</a:t>
                      </a:r>
                      <a:endParaRPr lang="en-BE"/>
                    </a:p>
                  </a:txBody>
                  <a:tcPr anchor="ctr"/>
                </a:tc>
                <a:tc>
                  <a:txBody>
                    <a:bodyPr/>
                    <a:lstStyle/>
                    <a:p>
                      <a:pPr algn="ctr"/>
                      <a:r>
                        <a:rPr lang="en-US"/>
                        <a:t>Camera</a:t>
                      </a:r>
                    </a:p>
                  </a:txBody>
                  <a:tcPr anchor="ctr"/>
                </a:tc>
                <a:tc>
                  <a:txBody>
                    <a:bodyPr/>
                    <a:lstStyle/>
                    <a:p>
                      <a:pPr algn="ctr"/>
                      <a:r>
                        <a:rPr lang="en-US"/>
                        <a:t>Microphone</a:t>
                      </a:r>
                    </a:p>
                  </a:txBody>
                  <a:tcPr anchor="ctr"/>
                </a:tc>
                <a:tc>
                  <a:txBody>
                    <a:bodyPr/>
                    <a:lstStyle/>
                    <a:p>
                      <a:pPr algn="ctr"/>
                      <a:r>
                        <a:rPr lang="en-US"/>
                        <a:t>Storage Access</a:t>
                      </a:r>
                      <a:endParaRPr lang="en-BE"/>
                    </a:p>
                  </a:txBody>
                  <a:tcPr anchor="ctr"/>
                </a:tc>
                <a:extLst>
                  <a:ext uri="{0D108BD9-81ED-4DB2-BD59-A6C34878D82A}">
                    <a16:rowId xmlns:a16="http://schemas.microsoft.com/office/drawing/2014/main" val="2226489969"/>
                  </a:ext>
                </a:extLst>
              </a:tr>
              <a:tr h="298864">
                <a:tc rowSpan="3">
                  <a:txBody>
                    <a:bodyPr/>
                    <a:lstStyle/>
                    <a:p>
                      <a:pPr algn="ctr"/>
                      <a:r>
                        <a:rPr lang="en-US"/>
                        <a:t>BE</a:t>
                      </a:r>
                      <a:endParaRPr lang="en-BE"/>
                    </a:p>
                  </a:txBody>
                  <a:tcPr anchor="ctr">
                    <a:lnT w="38100" cmpd="sng">
                      <a:noFill/>
                    </a:lnT>
                    <a:solidFill>
                      <a:schemeClr val="accent2">
                        <a:lumMod val="75000"/>
                      </a:schemeClr>
                    </a:solidFill>
                  </a:tcPr>
                </a:tc>
                <a:tc>
                  <a:txBody>
                    <a:bodyPr/>
                    <a:lstStyle/>
                    <a:p>
                      <a:pPr algn="ctr"/>
                      <a:r>
                        <a:rPr lang="en-US" sz="1350" b="1" kern="1200" err="1">
                          <a:solidFill>
                            <a:schemeClr val="lt1"/>
                          </a:solidFill>
                          <a:latin typeface="+mn-lt"/>
                          <a:ea typeface="+mn-ea"/>
                          <a:cs typeface="+mn-cs"/>
                        </a:rPr>
                        <a:t>Coronalert</a:t>
                      </a:r>
                      <a:endParaRPr lang="en-BE" sz="1350" b="1" kern="1200">
                        <a:solidFill>
                          <a:schemeClr val="lt1"/>
                        </a:solidFill>
                        <a:latin typeface="+mn-lt"/>
                        <a:ea typeface="+mn-ea"/>
                        <a:cs typeface="+mn-cs"/>
                      </a:endParaRPr>
                    </a:p>
                  </a:txBody>
                  <a:tcPr anchor="ctr">
                    <a:lnT w="38100" cmpd="sng">
                      <a:noFill/>
                    </a:lnT>
                    <a:solidFill>
                      <a:schemeClr val="accent2"/>
                    </a:solidFill>
                  </a:tcPr>
                </a:tc>
                <a:tc rowSpan="3">
                  <a:txBody>
                    <a:bodyPr/>
                    <a:lstStyle/>
                    <a:p>
                      <a:pPr algn="ctr"/>
                      <a:r>
                        <a:rPr lang="en-US"/>
                        <a:t>No </a:t>
                      </a:r>
                      <a:endParaRPr lang="en-BE"/>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D9D9E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 </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12318967"/>
                  </a:ext>
                </a:extLst>
              </a:tr>
              <a:tr h="298864">
                <a:tc vMerge="1">
                  <a:txBody>
                    <a:bodyPr/>
                    <a:lstStyle/>
                    <a:p>
                      <a:endParaRPr lang="en-BE"/>
                    </a:p>
                  </a:txBody>
                  <a:tcPr/>
                </a:tc>
                <a:tc>
                  <a:txBody>
                    <a:bodyPr/>
                    <a:lstStyle/>
                    <a:p>
                      <a:pPr algn="ctr"/>
                      <a:r>
                        <a:rPr lang="en-US" sz="1350" b="1" kern="1200" err="1">
                          <a:solidFill>
                            <a:schemeClr val="lt1"/>
                          </a:solidFill>
                          <a:latin typeface="+mn-lt"/>
                          <a:ea typeface="+mn-ea"/>
                          <a:cs typeface="+mn-cs"/>
                        </a:rPr>
                        <a:t>CovidSafe</a:t>
                      </a:r>
                      <a:endParaRPr lang="en-BE" sz="1350" b="1" kern="1200">
                        <a:solidFill>
                          <a:schemeClr val="lt1"/>
                        </a:solidFill>
                        <a:latin typeface="+mn-lt"/>
                        <a:ea typeface="+mn-ea"/>
                        <a:cs typeface="+mn-cs"/>
                      </a:endParaRPr>
                    </a:p>
                  </a:txBody>
                  <a:tcPr anchor="ctr">
                    <a:solidFill>
                      <a:schemeClr val="accent2"/>
                    </a:solidFill>
                  </a:tcPr>
                </a:tc>
                <a:tc vMerge="1">
                  <a:txBody>
                    <a:bodyPr/>
                    <a:lstStyle/>
                    <a:p>
                      <a:endParaRPr lang="en-BE"/>
                    </a:p>
                  </a:txBody>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 </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925122870"/>
                  </a:ext>
                </a:extLst>
              </a:tr>
              <a:tr h="298864">
                <a:tc vMerge="1">
                  <a:txBody>
                    <a:bodyPr/>
                    <a:lstStyle/>
                    <a:p>
                      <a:endParaRPr lang="en-BE"/>
                    </a:p>
                  </a:txBody>
                  <a:tcPr/>
                </a:tc>
                <a:tc>
                  <a:txBody>
                    <a:bodyPr/>
                    <a:lstStyle/>
                    <a:p>
                      <a:pPr algn="ctr"/>
                      <a:r>
                        <a:rPr lang="en-US" sz="1350" b="1" kern="1200" err="1">
                          <a:solidFill>
                            <a:schemeClr val="lt1"/>
                          </a:solidFill>
                          <a:latin typeface="+mn-lt"/>
                          <a:ea typeface="+mn-ea"/>
                          <a:cs typeface="+mn-cs"/>
                        </a:rPr>
                        <a:t>CovidScan</a:t>
                      </a:r>
                      <a:endParaRPr lang="en-BE" sz="1350" b="1" kern="1200">
                        <a:solidFill>
                          <a:schemeClr val="lt1"/>
                        </a:solidFill>
                        <a:latin typeface="+mn-lt"/>
                        <a:ea typeface="+mn-ea"/>
                        <a:cs typeface="+mn-cs"/>
                      </a:endParaRPr>
                    </a:p>
                  </a:txBody>
                  <a:tcPr anchor="ctr">
                    <a:solidFill>
                      <a:schemeClr val="accent2"/>
                    </a:solidFill>
                  </a:tcPr>
                </a:tc>
                <a:tc vMerge="1">
                  <a:txBody>
                    <a:bodyPr/>
                    <a:lstStyle/>
                    <a:p>
                      <a:endParaRPr lang="en-BE"/>
                    </a:p>
                  </a:txBody>
                  <a:tcPr/>
                </a:tc>
                <a:tc vMerge="1">
                  <a:txBody>
                    <a:bodyPr/>
                    <a:lstStyle/>
                    <a:p>
                      <a:endParaRPr lang="en-BE"/>
                    </a:p>
                  </a:txBody>
                  <a:tcPr/>
                </a:tc>
                <a:tc vMerge="1">
                  <a:txBody>
                    <a:bodyPr/>
                    <a:lstStyle/>
                    <a:p>
                      <a:endParaRPr lang="en-BE"/>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extLst>
                  <a:ext uri="{0D108BD9-81ED-4DB2-BD59-A6C34878D82A}">
                    <a16:rowId xmlns:a16="http://schemas.microsoft.com/office/drawing/2014/main" val="635143750"/>
                  </a:ext>
                </a:extLst>
              </a:tr>
              <a:tr h="528697">
                <a:tc>
                  <a:txBody>
                    <a:bodyPr/>
                    <a:lstStyle/>
                    <a:p>
                      <a:pPr algn="ctr"/>
                      <a:r>
                        <a:rPr lang="en-US"/>
                        <a:t>FR</a:t>
                      </a:r>
                      <a:endParaRPr lang="en-BE"/>
                    </a:p>
                  </a:txBody>
                  <a:tcPr anchor="ctr">
                    <a:solidFill>
                      <a:schemeClr val="accent2">
                        <a:lumMod val="75000"/>
                      </a:schemeClr>
                    </a:solidFill>
                  </a:tcPr>
                </a:tc>
                <a:tc>
                  <a:txBody>
                    <a:bodyPr/>
                    <a:lstStyle/>
                    <a:p>
                      <a:pPr algn="ctr"/>
                      <a:r>
                        <a:rPr lang="en-US" sz="1350" b="1" kern="1200" err="1">
                          <a:solidFill>
                            <a:schemeClr val="lt1"/>
                          </a:solidFill>
                          <a:latin typeface="+mn-lt"/>
                          <a:ea typeface="+mn-ea"/>
                          <a:cs typeface="+mn-cs"/>
                        </a:rPr>
                        <a:t>TousAntiCovid</a:t>
                      </a:r>
                      <a:endParaRPr lang="en-BE" sz="1350" b="1" kern="1200">
                        <a:solidFill>
                          <a:schemeClr val="lt1"/>
                        </a:solidFill>
                        <a:latin typeface="+mn-lt"/>
                        <a:ea typeface="+mn-ea"/>
                        <a:cs typeface="+mn-cs"/>
                      </a:endParaRPr>
                    </a:p>
                  </a:txBody>
                  <a:tcPr anchor="ctr">
                    <a:solidFill>
                      <a:schemeClr val="accent2"/>
                    </a:solidFill>
                  </a:tcPr>
                </a:tc>
                <a:tc>
                  <a:txBody>
                    <a:bodyPr/>
                    <a:lstStyle/>
                    <a:p>
                      <a:pPr algn="ctr"/>
                      <a:r>
                        <a:rPr lang="en-US"/>
                        <a:t>No</a:t>
                      </a:r>
                      <a:endParaRPr lang="en-BE"/>
                    </a:p>
                  </a:txBody>
                  <a:tcPr anchor="ctr">
                    <a:solidFill>
                      <a:schemeClr val="accent2">
                        <a:lumMod val="20000"/>
                        <a:lumOff val="80000"/>
                      </a:schemeClr>
                    </a:solidFill>
                  </a:tcPr>
                </a:tc>
                <a:tc>
                  <a:txBody>
                    <a:bodyPr/>
                    <a:lstStyle/>
                    <a:p>
                      <a:pPr algn="ctr"/>
                      <a:r>
                        <a:rPr lang="en-US"/>
                        <a:t>Yes</a:t>
                      </a:r>
                      <a:endParaRPr lang="en-BE"/>
                    </a:p>
                  </a:txBody>
                  <a:tcPr anchor="ctr">
                    <a:solidFill>
                      <a:srgbClr val="D9D9EB"/>
                    </a:solidFill>
                  </a:tcPr>
                </a:tc>
                <a:tc>
                  <a:txBody>
                    <a:bodyPr/>
                    <a:lstStyle/>
                    <a:p>
                      <a:pPr algn="ctr"/>
                      <a:r>
                        <a:rPr lang="en-US"/>
                        <a:t>No</a:t>
                      </a:r>
                      <a:endParaRPr lang="en-BE"/>
                    </a:p>
                  </a:txBody>
                  <a:tcPr anchor="ctr">
                    <a:solidFill>
                      <a:schemeClr val="accent2">
                        <a:lumMod val="20000"/>
                        <a:lumOff val="80000"/>
                      </a:schemeClr>
                    </a:solidFill>
                  </a:tcPr>
                </a:tc>
                <a:tc>
                  <a:txBody>
                    <a:bodyPr/>
                    <a:lstStyle/>
                    <a:p>
                      <a:pPr algn="ctr"/>
                      <a:r>
                        <a:rPr lang="en-US"/>
                        <a:t>Yes</a:t>
                      </a:r>
                      <a:endParaRPr lang="en-BE"/>
                    </a:p>
                  </a:txBody>
                  <a:tcPr anchor="ctr">
                    <a:solidFill>
                      <a:srgbClr val="D9D9E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No</a:t>
                      </a:r>
                      <a:endParaRPr lang="en-BE"/>
                    </a:p>
                  </a:txBody>
                  <a:tcPr anchor="ctr">
                    <a:solidFill>
                      <a:schemeClr val="accent2">
                        <a:lumMod val="20000"/>
                        <a:lumOff val="80000"/>
                      </a:schemeClr>
                    </a:solidFill>
                  </a:tcPr>
                </a:tc>
                <a:extLst>
                  <a:ext uri="{0D108BD9-81ED-4DB2-BD59-A6C34878D82A}">
                    <a16:rowId xmlns:a16="http://schemas.microsoft.com/office/drawing/2014/main" val="560187771"/>
                  </a:ext>
                </a:extLst>
              </a:tr>
              <a:tr h="528697">
                <a:tc>
                  <a:txBody>
                    <a:bodyPr/>
                    <a:lstStyle/>
                    <a:p>
                      <a:pPr algn="ctr"/>
                      <a:r>
                        <a:rPr lang="en-US"/>
                        <a:t>LU</a:t>
                      </a:r>
                      <a:endParaRPr lang="en-BE"/>
                    </a:p>
                  </a:txBody>
                  <a:tcPr anchor="ctr">
                    <a:solidFill>
                      <a:schemeClr val="accent2">
                        <a:lumMod val="75000"/>
                      </a:schemeClr>
                    </a:solidFill>
                  </a:tcPr>
                </a:tc>
                <a:tc>
                  <a:txBody>
                    <a:bodyPr/>
                    <a:lstStyle/>
                    <a:p>
                      <a:pPr algn="ctr"/>
                      <a:r>
                        <a:rPr lang="en-US" sz="1350" b="1" kern="1200">
                          <a:solidFill>
                            <a:schemeClr val="lt1"/>
                          </a:solidFill>
                          <a:latin typeface="+mn-lt"/>
                          <a:ea typeface="+mn-ea"/>
                          <a:cs typeface="+mn-cs"/>
                        </a:rPr>
                        <a:t>CovidCheck.lu</a:t>
                      </a:r>
                      <a:endParaRPr lang="en-BE" sz="1350" b="1" kern="1200">
                        <a:solidFill>
                          <a:schemeClr val="lt1"/>
                        </a:solidFill>
                        <a:latin typeface="+mn-lt"/>
                        <a:ea typeface="+mn-ea"/>
                        <a:cs typeface="+mn-cs"/>
                      </a:endParaRPr>
                    </a:p>
                  </a:txBody>
                  <a:tcPr anchor="ctr">
                    <a:solidFill>
                      <a:schemeClr val="accent2"/>
                    </a:solidFill>
                  </a:tcPr>
                </a:tc>
                <a:tc>
                  <a:txBody>
                    <a:bodyPr/>
                    <a:lstStyle/>
                    <a:p>
                      <a:pPr algn="ctr"/>
                      <a:r>
                        <a:rPr lang="en-US"/>
                        <a:t>No</a:t>
                      </a:r>
                      <a:endParaRPr lang="en-BE"/>
                    </a:p>
                  </a:txBody>
                  <a:tcPr anchor="ctr">
                    <a:solidFill>
                      <a:schemeClr val="accent2">
                        <a:lumMod val="20000"/>
                        <a:lumOff val="80000"/>
                      </a:schemeClr>
                    </a:solidFill>
                  </a:tcPr>
                </a:tc>
                <a:tc>
                  <a:txBody>
                    <a:bodyPr/>
                    <a:lstStyle/>
                    <a:p>
                      <a:pPr algn="ctr"/>
                      <a:r>
                        <a:rPr lang="en-US"/>
                        <a:t>No</a:t>
                      </a:r>
                      <a:endParaRPr lang="en-BE"/>
                    </a:p>
                  </a:txBody>
                  <a:tcPr anchor="ctr">
                    <a:solidFill>
                      <a:schemeClr val="accent2">
                        <a:lumMod val="20000"/>
                        <a:lumOff val="80000"/>
                      </a:schemeClr>
                    </a:solidFill>
                  </a:tcPr>
                </a:tc>
                <a:tc>
                  <a:txBody>
                    <a:bodyPr/>
                    <a:lstStyle/>
                    <a:p>
                      <a:pPr algn="ctr"/>
                      <a:r>
                        <a:rPr lang="en-US"/>
                        <a:t>No</a:t>
                      </a:r>
                      <a:endParaRPr lang="en-BE"/>
                    </a:p>
                  </a:txBody>
                  <a:tcPr anchor="ctr">
                    <a:solidFill>
                      <a:schemeClr val="accent2">
                        <a:lumMod val="20000"/>
                        <a:lumOff val="80000"/>
                      </a:schemeClr>
                    </a:solidFill>
                  </a:tcPr>
                </a:tc>
                <a:tc>
                  <a:txBody>
                    <a:bodyPr/>
                    <a:lstStyle/>
                    <a:p>
                      <a:pPr algn="ctr"/>
                      <a:r>
                        <a:rPr lang="en-US"/>
                        <a:t>Yes</a:t>
                      </a:r>
                      <a:endParaRPr lang="en-BE"/>
                    </a:p>
                  </a:txBody>
                  <a:tcPr anchor="ctr">
                    <a:solidFill>
                      <a:srgbClr val="D9D9E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No</a:t>
                      </a:r>
                      <a:endParaRPr lang="en-BE"/>
                    </a:p>
                  </a:txBody>
                  <a:tcPr anchor="ctr">
                    <a:solidFill>
                      <a:schemeClr val="accent2">
                        <a:lumMod val="20000"/>
                        <a:lumOff val="80000"/>
                      </a:schemeClr>
                    </a:solidFill>
                  </a:tcPr>
                </a:tc>
                <a:extLst>
                  <a:ext uri="{0D108BD9-81ED-4DB2-BD59-A6C34878D82A}">
                    <a16:rowId xmlns:a16="http://schemas.microsoft.com/office/drawing/2014/main" val="1214844597"/>
                  </a:ext>
                </a:extLst>
              </a:tr>
              <a:tr h="528697">
                <a:tc>
                  <a:txBody>
                    <a:bodyPr/>
                    <a:lstStyle/>
                    <a:p>
                      <a:pPr algn="ctr"/>
                      <a:r>
                        <a:rPr lang="fr-FR"/>
                        <a:t>DE</a:t>
                      </a:r>
                      <a:endParaRPr lang="en-BE"/>
                    </a:p>
                  </a:txBody>
                  <a:tcPr anchor="ctr">
                    <a:solidFill>
                      <a:schemeClr val="accent2">
                        <a:lumMod val="75000"/>
                      </a:schemeClr>
                    </a:solidFill>
                  </a:tcPr>
                </a:tc>
                <a:tc>
                  <a:txBody>
                    <a:bodyPr/>
                    <a:lstStyle/>
                    <a:p>
                      <a:pPr algn="ctr"/>
                      <a:r>
                        <a:rPr lang="fr-FR" sz="1350" b="1" kern="1200">
                          <a:solidFill>
                            <a:schemeClr val="lt1"/>
                          </a:solidFill>
                          <a:latin typeface="+mn-lt"/>
                          <a:ea typeface="+mn-ea"/>
                          <a:cs typeface="+mn-cs"/>
                        </a:rPr>
                        <a:t>Corona Warn App</a:t>
                      </a:r>
                      <a:endParaRPr lang="en-BE" sz="1350" b="1" kern="1200">
                        <a:solidFill>
                          <a:schemeClr val="lt1"/>
                        </a:solidFill>
                        <a:latin typeface="+mn-lt"/>
                        <a:ea typeface="+mn-ea"/>
                        <a:cs typeface="+mn-cs"/>
                      </a:endParaRPr>
                    </a:p>
                  </a:txBody>
                  <a:tcPr anchor="ctr">
                    <a:solidFill>
                      <a:schemeClr val="accent2"/>
                    </a:solidFill>
                  </a:tcPr>
                </a:tc>
                <a:tc>
                  <a:txBody>
                    <a:bodyPr/>
                    <a:lstStyle/>
                    <a:p>
                      <a:pPr algn="ctr"/>
                      <a:r>
                        <a:rPr lang="fr-FR"/>
                        <a:t>No</a:t>
                      </a:r>
                      <a:endParaRPr lang="en-BE"/>
                    </a:p>
                  </a:txBody>
                  <a:tcPr anchor="ctr">
                    <a:solidFill>
                      <a:schemeClr val="accent2">
                        <a:lumMod val="20000"/>
                        <a:lumOff val="80000"/>
                      </a:schemeClr>
                    </a:solidFill>
                  </a:tcPr>
                </a:tc>
                <a:tc>
                  <a:txBody>
                    <a:bodyPr/>
                    <a:lstStyle/>
                    <a:p>
                      <a:pPr algn="ctr" rtl="0"/>
                      <a:r>
                        <a:rPr lang="en-US"/>
                        <a:t>Yes</a:t>
                      </a:r>
                      <a:endParaRPr lang="en-BE"/>
                    </a:p>
                  </a:txBody>
                  <a:tcPr anchor="ctr">
                    <a:solidFill>
                      <a:srgbClr val="D9D9EB"/>
                    </a:solidFill>
                  </a:tcPr>
                </a:tc>
                <a:tc>
                  <a:txBody>
                    <a:bodyPr/>
                    <a:lstStyle/>
                    <a:p>
                      <a:pPr algn="ctr" rtl="0"/>
                      <a:r>
                        <a:rPr lang="fr-FR"/>
                        <a:t>No</a:t>
                      </a:r>
                      <a:endParaRPr lang="en-BE"/>
                    </a:p>
                  </a:txBody>
                  <a:tcPr anchor="ctr">
                    <a:solidFill>
                      <a:schemeClr val="accent2">
                        <a:lumMod val="20000"/>
                        <a:lumOff val="80000"/>
                      </a:schemeClr>
                    </a:solidFill>
                  </a:tcPr>
                </a:tc>
                <a:tc>
                  <a:txBody>
                    <a:bodyPr/>
                    <a:lstStyle/>
                    <a:p>
                      <a:pPr algn="ctr"/>
                      <a:r>
                        <a:rPr lang="fr-FR"/>
                        <a:t>Yes</a:t>
                      </a:r>
                      <a:endParaRPr lang="en-BE"/>
                    </a:p>
                  </a:txBody>
                  <a:tcPr anchor="ctr">
                    <a:solidFill>
                      <a:srgbClr val="D9D9E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o</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No</a:t>
                      </a:r>
                      <a:endParaRPr lang="en-BE"/>
                    </a:p>
                  </a:txBody>
                  <a:tcPr anchor="ctr">
                    <a:solidFill>
                      <a:schemeClr val="accent2">
                        <a:lumMod val="20000"/>
                        <a:lumOff val="80000"/>
                      </a:schemeClr>
                    </a:solidFill>
                  </a:tcPr>
                </a:tc>
                <a:extLst>
                  <a:ext uri="{0D108BD9-81ED-4DB2-BD59-A6C34878D82A}">
                    <a16:rowId xmlns:a16="http://schemas.microsoft.com/office/drawing/2014/main" val="2300986417"/>
                  </a:ext>
                </a:extLst>
              </a:tr>
              <a:tr h="528697">
                <a:tc>
                  <a:txBody>
                    <a:bodyPr/>
                    <a:lstStyle/>
                    <a:p>
                      <a:pPr algn="ctr"/>
                      <a:endParaRPr lang="en-BE"/>
                    </a:p>
                  </a:txBody>
                  <a:tcPr anchor="ctr">
                    <a:solidFill>
                      <a:schemeClr val="bg1">
                        <a:lumMod val="75000"/>
                      </a:schemeClr>
                    </a:solidFill>
                  </a:tcPr>
                </a:tc>
                <a:tc>
                  <a:txBody>
                    <a:bodyPr/>
                    <a:lstStyle/>
                    <a:p>
                      <a:pPr algn="ctr"/>
                      <a:r>
                        <a:rPr lang="en-US" sz="1350" b="1" kern="1200">
                          <a:solidFill>
                            <a:schemeClr val="lt1"/>
                          </a:solidFill>
                          <a:latin typeface="+mn-lt"/>
                          <a:ea typeface="+mn-ea"/>
                          <a:cs typeface="+mn-cs"/>
                        </a:rPr>
                        <a:t>Facebook</a:t>
                      </a:r>
                      <a:endParaRPr lang="en-BE" sz="1350" b="1" kern="1200">
                        <a:solidFill>
                          <a:schemeClr val="lt1"/>
                        </a:solidFill>
                        <a:latin typeface="+mn-lt"/>
                        <a:ea typeface="+mn-ea"/>
                        <a:cs typeface="+mn-cs"/>
                      </a:endParaRPr>
                    </a:p>
                  </a:txBody>
                  <a:tcPr anchor="ctr">
                    <a:solidFill>
                      <a:schemeClr val="bg1">
                        <a:lumMod val="75000"/>
                      </a:schemeClr>
                    </a:solidFill>
                  </a:tcPr>
                </a:tc>
                <a:tc>
                  <a:txBody>
                    <a:bodyPr/>
                    <a:lstStyle/>
                    <a:p>
                      <a:pPr algn="ctr"/>
                      <a:r>
                        <a:rPr lang="en-US"/>
                        <a:t>Yes</a:t>
                      </a:r>
                      <a:endParaRPr lang="en-BE"/>
                    </a:p>
                  </a:txBody>
                  <a:tcPr anchor="ctr">
                    <a:solidFill>
                      <a:schemeClr val="bg1">
                        <a:lumMod val="85000"/>
                      </a:schemeClr>
                    </a:solidFill>
                  </a:tcPr>
                </a:tc>
                <a:tc>
                  <a:txBody>
                    <a:bodyPr/>
                    <a:lstStyle/>
                    <a:p>
                      <a:pPr algn="ctr" rtl="0"/>
                      <a:r>
                        <a:rPr lang="en-US"/>
                        <a:t>Yes</a:t>
                      </a:r>
                      <a:endParaRPr lang="en-BE"/>
                    </a:p>
                  </a:txBody>
                  <a:tcPr anchor="ctr">
                    <a:solidFill>
                      <a:schemeClr val="bg1">
                        <a:lumMod val="85000"/>
                      </a:schemeClr>
                    </a:solidFill>
                  </a:tcPr>
                </a:tc>
                <a:tc>
                  <a:txBody>
                    <a:bodyPr/>
                    <a:lstStyle/>
                    <a:p>
                      <a:pPr algn="ctr" rtl="0"/>
                      <a:r>
                        <a:rPr lang="en-US"/>
                        <a:t>Yes</a:t>
                      </a:r>
                      <a:endParaRPr lang="en-BE"/>
                    </a:p>
                  </a:txBody>
                  <a:tcPr anchor="ctr">
                    <a:solidFill>
                      <a:schemeClr val="bg1">
                        <a:lumMod val="85000"/>
                      </a:schemeClr>
                    </a:solidFill>
                  </a:tcPr>
                </a:tc>
                <a:tc>
                  <a:txBody>
                    <a:bodyPr/>
                    <a:lstStyle/>
                    <a:p>
                      <a:pPr algn="ctr"/>
                      <a:r>
                        <a:rPr lang="en-US"/>
                        <a:t>Yes</a:t>
                      </a:r>
                      <a:endParaRPr lang="en-BE"/>
                    </a:p>
                  </a:txBody>
                  <a:tcPr anchor="ctr">
                    <a:solidFill>
                      <a:schemeClr val="bg1">
                        <a:lumMod val="85000"/>
                      </a:schemeClr>
                    </a:solidFill>
                  </a:tcPr>
                </a:tc>
                <a:tc>
                  <a:txBody>
                    <a:bodyPr/>
                    <a:lstStyle/>
                    <a:p>
                      <a:pPr algn="ctr"/>
                      <a:r>
                        <a:rPr lang="en-US"/>
                        <a:t>Yes</a:t>
                      </a:r>
                      <a:endParaRPr lang="en-BE"/>
                    </a:p>
                  </a:txBody>
                  <a:tcPr anchor="ctr">
                    <a:solidFill>
                      <a:schemeClr val="bg1">
                        <a:lumMod val="85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Yes</a:t>
                      </a:r>
                      <a:endParaRPr lang="en-BE"/>
                    </a:p>
                  </a:txBody>
                  <a:tcPr anchor="ctr">
                    <a:solidFill>
                      <a:schemeClr val="bg1">
                        <a:lumMod val="85000"/>
                      </a:schemeClr>
                    </a:solidFill>
                  </a:tcPr>
                </a:tc>
                <a:extLst>
                  <a:ext uri="{0D108BD9-81ED-4DB2-BD59-A6C34878D82A}">
                    <a16:rowId xmlns:a16="http://schemas.microsoft.com/office/drawing/2014/main" val="2969959074"/>
                  </a:ext>
                </a:extLst>
              </a:tr>
            </a:tbl>
          </a:graphicData>
        </a:graphic>
      </p:graphicFrame>
      <p:sp>
        <p:nvSpPr>
          <p:cNvPr id="4" name="TextBox 23">
            <a:extLst>
              <a:ext uri="{FF2B5EF4-FFF2-40B4-BE49-F238E27FC236}">
                <a16:creationId xmlns:a16="http://schemas.microsoft.com/office/drawing/2014/main" id="{DAED5303-9386-4371-B9B0-CFC81F682F67}"/>
              </a:ext>
            </a:extLst>
          </p:cNvPr>
          <p:cNvSpPr txBox="1"/>
          <p:nvPr>
            <p:custDataLst>
              <p:tags r:id="rId3"/>
            </p:custDataLst>
          </p:nvPr>
        </p:nvSpPr>
        <p:spPr>
          <a:xfrm>
            <a:off x="654225" y="878832"/>
            <a:ext cx="2457781" cy="400110"/>
          </a:xfrm>
          <a:prstGeom prst="rect">
            <a:avLst/>
          </a:prstGeom>
          <a:noFill/>
        </p:spPr>
        <p:txBody>
          <a:bodyPr wrap="square" rtlCol="0">
            <a:spAutoFit/>
          </a:bodyPr>
          <a:lstStyle/>
          <a:p>
            <a:r>
              <a:rPr lang="en-US" sz="2000">
                <a:solidFill>
                  <a:srgbClr val="B5B1D9"/>
                </a:solidFill>
                <a:latin typeface="Helvetica" pitchFamily="2" charset="0"/>
              </a:rPr>
              <a:t>Permissions</a:t>
            </a:r>
            <a:endParaRPr lang="en-US" sz="2000">
              <a:solidFill>
                <a:srgbClr val="B5B1D9"/>
              </a:solidFill>
              <a:latin typeface="Helvetica" pitchFamily="2" charset="0"/>
              <a:cs typeface="Arial"/>
              <a:sym typeface="Arial"/>
            </a:endParaRPr>
          </a:p>
        </p:txBody>
      </p:sp>
      <p:grpSp>
        <p:nvGrpSpPr>
          <p:cNvPr id="5" name="Group 4">
            <a:extLst>
              <a:ext uri="{FF2B5EF4-FFF2-40B4-BE49-F238E27FC236}">
                <a16:creationId xmlns:a16="http://schemas.microsoft.com/office/drawing/2014/main" id="{F3C15CFF-821F-4BED-9755-BD9139A05F62}"/>
              </a:ext>
            </a:extLst>
          </p:cNvPr>
          <p:cNvGrpSpPr/>
          <p:nvPr>
            <p:custDataLst>
              <p:tags r:id="rId4"/>
            </p:custDataLst>
          </p:nvPr>
        </p:nvGrpSpPr>
        <p:grpSpPr>
          <a:xfrm>
            <a:off x="500385" y="1772596"/>
            <a:ext cx="345864" cy="2025414"/>
            <a:chOff x="109089" y="2364448"/>
            <a:chExt cx="360000" cy="2108200"/>
          </a:xfrm>
        </p:grpSpPr>
        <p:pic>
          <p:nvPicPr>
            <p:cNvPr id="6" name="Picture 5" descr="Shape, background pattern, rectangle&#10;&#10;Description automatically generated">
              <a:extLst>
                <a:ext uri="{FF2B5EF4-FFF2-40B4-BE49-F238E27FC236}">
                  <a16:creationId xmlns:a16="http://schemas.microsoft.com/office/drawing/2014/main" id="{9952BCA8-2BB9-42AD-90F3-271FE52E9D01}"/>
                </a:ext>
              </a:extLst>
            </p:cNvPr>
            <p:cNvPicPr>
              <a:picLocks noChangeAspect="1"/>
            </p:cNvPicPr>
            <p:nvPr/>
          </p:nvPicPr>
          <p:blipFill>
            <a:blip r:embed="rId7"/>
            <a:stretch>
              <a:fillRect/>
            </a:stretch>
          </p:blipFill>
          <p:spPr>
            <a:xfrm>
              <a:off x="109089" y="4256648"/>
              <a:ext cx="360000" cy="216000"/>
            </a:xfrm>
            <a:prstGeom prst="rect">
              <a:avLst/>
            </a:prstGeom>
          </p:spPr>
        </p:pic>
        <p:pic>
          <p:nvPicPr>
            <p:cNvPr id="7" name="Picture 6" descr="Background pattern&#10;&#10;Description automatically generated with medium confidence">
              <a:extLst>
                <a:ext uri="{FF2B5EF4-FFF2-40B4-BE49-F238E27FC236}">
                  <a16:creationId xmlns:a16="http://schemas.microsoft.com/office/drawing/2014/main" id="{57117003-FE95-4FFC-A832-75AA5A548409}"/>
                </a:ext>
              </a:extLst>
            </p:cNvPr>
            <p:cNvPicPr>
              <a:picLocks noChangeAspect="1"/>
            </p:cNvPicPr>
            <p:nvPr/>
          </p:nvPicPr>
          <p:blipFill>
            <a:blip r:embed="rId8"/>
            <a:stretch>
              <a:fillRect/>
            </a:stretch>
          </p:blipFill>
          <p:spPr>
            <a:xfrm>
              <a:off x="109089" y="2364448"/>
              <a:ext cx="360000" cy="312000"/>
            </a:xfrm>
            <a:prstGeom prst="rect">
              <a:avLst/>
            </a:prstGeom>
          </p:spPr>
        </p:pic>
        <p:pic>
          <p:nvPicPr>
            <p:cNvPr id="8" name="Picture 7" descr="Shape, rectangle&#10;&#10;Description automatically generated">
              <a:extLst>
                <a:ext uri="{FF2B5EF4-FFF2-40B4-BE49-F238E27FC236}">
                  <a16:creationId xmlns:a16="http://schemas.microsoft.com/office/drawing/2014/main" id="{66E299BB-3577-4020-8C9A-DB584B55B2B5}"/>
                </a:ext>
              </a:extLst>
            </p:cNvPr>
            <p:cNvPicPr>
              <a:picLocks noChangeAspect="1"/>
            </p:cNvPicPr>
            <p:nvPr/>
          </p:nvPicPr>
          <p:blipFill>
            <a:blip r:embed="rId9"/>
            <a:stretch>
              <a:fillRect/>
            </a:stretch>
          </p:blipFill>
          <p:spPr>
            <a:xfrm>
              <a:off x="109089" y="3745940"/>
              <a:ext cx="360000" cy="216000"/>
            </a:xfrm>
            <a:prstGeom prst="rect">
              <a:avLst/>
            </a:prstGeom>
          </p:spPr>
        </p:pic>
        <p:pic>
          <p:nvPicPr>
            <p:cNvPr id="9" name="Picture 8" descr="Shape&#10;&#10;Description automatically generated">
              <a:extLst>
                <a:ext uri="{FF2B5EF4-FFF2-40B4-BE49-F238E27FC236}">
                  <a16:creationId xmlns:a16="http://schemas.microsoft.com/office/drawing/2014/main" id="{6D45CB36-4D61-4653-88EF-3603563B5D18}"/>
                </a:ext>
              </a:extLst>
            </p:cNvPr>
            <p:cNvPicPr>
              <a:picLocks noChangeAspect="1"/>
            </p:cNvPicPr>
            <p:nvPr/>
          </p:nvPicPr>
          <p:blipFill>
            <a:blip r:embed="rId10"/>
            <a:stretch>
              <a:fillRect/>
            </a:stretch>
          </p:blipFill>
          <p:spPr>
            <a:xfrm>
              <a:off x="109089" y="3108456"/>
              <a:ext cx="360000" cy="312000"/>
            </a:xfrm>
            <a:prstGeom prst="rect">
              <a:avLst/>
            </a:prstGeom>
          </p:spPr>
        </p:pic>
      </p:grpSp>
    </p:spTree>
    <p:extLst>
      <p:ext uri="{BB962C8B-B14F-4D97-AF65-F5344CB8AC3E}">
        <p14:creationId xmlns:p14="http://schemas.microsoft.com/office/powerpoint/2010/main" val="28899304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6478112" cy="646331"/>
          </a:xfrm>
          <a:prstGeom prst="rect">
            <a:avLst/>
          </a:prstGeom>
          <a:noFill/>
        </p:spPr>
        <p:txBody>
          <a:bodyPr wrap="square" rtlCol="0">
            <a:spAutoFit/>
          </a:bodyPr>
          <a:lstStyle/>
          <a:p>
            <a:r>
              <a:rPr lang="en-US" sz="3600">
                <a:solidFill>
                  <a:srgbClr val="7030A0"/>
                </a:solidFill>
                <a:latin typeface="Helvetica" pitchFamily="2" charset="0"/>
              </a:rPr>
              <a:t>1. Comparison</a:t>
            </a:r>
            <a:endParaRPr lang="en-US" sz="3600">
              <a:solidFill>
                <a:srgbClr val="7030A0"/>
              </a:solidFill>
              <a:latin typeface="Helvetica" pitchFamily="2" charset="0"/>
              <a:cs typeface="Arial"/>
              <a:sym typeface="Arial"/>
            </a:endParaRPr>
          </a:p>
        </p:txBody>
      </p:sp>
      <p:graphicFrame>
        <p:nvGraphicFramePr>
          <p:cNvPr id="2" name="Table 2">
            <a:extLst>
              <a:ext uri="{FF2B5EF4-FFF2-40B4-BE49-F238E27FC236}">
                <a16:creationId xmlns:a16="http://schemas.microsoft.com/office/drawing/2014/main" id="{6A0EECAD-3F4D-4D4D-85CD-0E1ABE4D71F3}"/>
              </a:ext>
            </a:extLst>
          </p:cNvPr>
          <p:cNvGraphicFramePr>
            <a:graphicFrameLocks noGrp="1"/>
          </p:cNvGraphicFramePr>
          <p:nvPr>
            <p:custDataLst>
              <p:tags r:id="rId2"/>
            </p:custDataLst>
            <p:extLst>
              <p:ext uri="{D42A27DB-BD31-4B8C-83A1-F6EECF244321}">
                <p14:modId xmlns:p14="http://schemas.microsoft.com/office/powerpoint/2010/main" val="3189638949"/>
              </p:ext>
            </p:extLst>
          </p:nvPr>
        </p:nvGraphicFramePr>
        <p:xfrm>
          <a:off x="654225" y="1482695"/>
          <a:ext cx="7857873" cy="3225548"/>
        </p:xfrm>
        <a:graphic>
          <a:graphicData uri="http://schemas.openxmlformats.org/drawingml/2006/table">
            <a:tbl>
              <a:tblPr firstRow="1" firstCol="1" bandRow="1">
                <a:tableStyleId>{21E4AEA4-8DFA-4A89-87EB-49C32662AFE0}</a:tableStyleId>
              </a:tblPr>
              <a:tblGrid>
                <a:gridCol w="447239">
                  <a:extLst>
                    <a:ext uri="{9D8B030D-6E8A-4147-A177-3AD203B41FA5}">
                      <a16:colId xmlns:a16="http://schemas.microsoft.com/office/drawing/2014/main" val="492718851"/>
                    </a:ext>
                  </a:extLst>
                </a:gridCol>
                <a:gridCol w="1357318">
                  <a:extLst>
                    <a:ext uri="{9D8B030D-6E8A-4147-A177-3AD203B41FA5}">
                      <a16:colId xmlns:a16="http://schemas.microsoft.com/office/drawing/2014/main" val="3751139323"/>
                    </a:ext>
                  </a:extLst>
                </a:gridCol>
                <a:gridCol w="1452224">
                  <a:extLst>
                    <a:ext uri="{9D8B030D-6E8A-4147-A177-3AD203B41FA5}">
                      <a16:colId xmlns:a16="http://schemas.microsoft.com/office/drawing/2014/main" val="685985469"/>
                    </a:ext>
                  </a:extLst>
                </a:gridCol>
                <a:gridCol w="1452224">
                  <a:extLst>
                    <a:ext uri="{9D8B030D-6E8A-4147-A177-3AD203B41FA5}">
                      <a16:colId xmlns:a16="http://schemas.microsoft.com/office/drawing/2014/main" val="3042035226"/>
                    </a:ext>
                  </a:extLst>
                </a:gridCol>
                <a:gridCol w="1574434">
                  <a:extLst>
                    <a:ext uri="{9D8B030D-6E8A-4147-A177-3AD203B41FA5}">
                      <a16:colId xmlns:a16="http://schemas.microsoft.com/office/drawing/2014/main" val="4227640751"/>
                    </a:ext>
                  </a:extLst>
                </a:gridCol>
                <a:gridCol w="1574434">
                  <a:extLst>
                    <a:ext uri="{9D8B030D-6E8A-4147-A177-3AD203B41FA5}">
                      <a16:colId xmlns:a16="http://schemas.microsoft.com/office/drawing/2014/main" val="1374015502"/>
                    </a:ext>
                  </a:extLst>
                </a:gridCol>
              </a:tblGrid>
              <a:tr h="525717">
                <a:tc gridSpan="2">
                  <a:txBody>
                    <a:bodyPr/>
                    <a:lstStyle/>
                    <a:p>
                      <a:pPr algn="ctr"/>
                      <a:endParaRPr lang="en-BE"/>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BE"/>
                    </a:p>
                  </a:txBody>
                  <a:tcPr/>
                </a:tc>
                <a:tc>
                  <a:txBody>
                    <a:bodyPr/>
                    <a:lstStyle/>
                    <a:p>
                      <a:pPr algn="ctr"/>
                      <a:r>
                        <a:rPr lang="en-US"/>
                        <a:t>SSL Pinning</a:t>
                      </a:r>
                      <a:endParaRPr lang="en-BE"/>
                    </a:p>
                  </a:txBody>
                  <a:tcPr anchor="ctr">
                    <a:lnL w="12700" cmpd="sng">
                      <a:noFill/>
                    </a:lnL>
                  </a:tcPr>
                </a:tc>
                <a:tc>
                  <a:txBody>
                    <a:bodyPr/>
                    <a:lstStyle/>
                    <a:p>
                      <a:pPr algn="ctr"/>
                      <a:r>
                        <a:rPr lang="en-US"/>
                        <a:t>Framework</a:t>
                      </a:r>
                      <a:endParaRPr lang="en-BE"/>
                    </a:p>
                  </a:txBody>
                  <a:tcPr anchor="ctr"/>
                </a:tc>
                <a:tc>
                  <a:txBody>
                    <a:bodyPr/>
                    <a:lstStyle/>
                    <a:p>
                      <a:pPr algn="ctr"/>
                      <a:r>
                        <a:rPr lang="en-US"/>
                        <a:t>Back-end</a:t>
                      </a:r>
                      <a:endParaRPr lang="en-BE"/>
                    </a:p>
                  </a:txBody>
                  <a:tcPr anchor="ctr"/>
                </a:tc>
                <a:tc>
                  <a:txBody>
                    <a:bodyPr/>
                    <a:lstStyle/>
                    <a:p>
                      <a:pPr algn="ctr"/>
                      <a:r>
                        <a:rPr lang="fr-FR"/>
                        <a:t>Open Source</a:t>
                      </a:r>
                      <a:endParaRPr lang="en-BE"/>
                    </a:p>
                  </a:txBody>
                  <a:tcPr anchor="ctr"/>
                </a:tc>
                <a:extLst>
                  <a:ext uri="{0D108BD9-81ED-4DB2-BD59-A6C34878D82A}">
                    <a16:rowId xmlns:a16="http://schemas.microsoft.com/office/drawing/2014/main" val="2226489969"/>
                  </a:ext>
                </a:extLst>
              </a:tr>
              <a:tr h="175239">
                <a:tc rowSpan="3">
                  <a:txBody>
                    <a:bodyPr/>
                    <a:lstStyle/>
                    <a:p>
                      <a:pPr algn="ctr"/>
                      <a:r>
                        <a:rPr lang="en-US"/>
                        <a:t>BE</a:t>
                      </a:r>
                      <a:endParaRPr lang="en-BE"/>
                    </a:p>
                  </a:txBody>
                  <a:tcPr anchor="ctr">
                    <a:lnT w="38100" cmpd="sng">
                      <a:noFill/>
                    </a:lnT>
                    <a:solidFill>
                      <a:schemeClr val="accent2">
                        <a:lumMod val="75000"/>
                      </a:schemeClr>
                    </a:solidFill>
                  </a:tcPr>
                </a:tc>
                <a:tc>
                  <a:txBody>
                    <a:bodyPr/>
                    <a:lstStyle/>
                    <a:p>
                      <a:pPr algn="ctr"/>
                      <a:r>
                        <a:rPr lang="en-US" sz="1350" b="1" kern="1200" err="1">
                          <a:solidFill>
                            <a:schemeClr val="lt1"/>
                          </a:solidFill>
                          <a:latin typeface="+mn-lt"/>
                          <a:ea typeface="+mn-ea"/>
                          <a:cs typeface="+mn-cs"/>
                        </a:rPr>
                        <a:t>Coronalert</a:t>
                      </a:r>
                      <a:endParaRPr lang="en-BE" sz="1350" b="1" kern="1200">
                        <a:solidFill>
                          <a:schemeClr val="lt1"/>
                        </a:solidFill>
                        <a:latin typeface="+mn-lt"/>
                        <a:ea typeface="+mn-ea"/>
                        <a:cs typeface="+mn-cs"/>
                      </a:endParaRPr>
                    </a:p>
                  </a:txBody>
                  <a:tcPr anchor="ctr">
                    <a:lnT w="38100" cmpd="sng">
                      <a:noFill/>
                    </a:lnT>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algn="ctr"/>
                      <a:r>
                        <a:rPr lang="en-US"/>
                        <a:t>Android stack</a:t>
                      </a:r>
                      <a:endParaRPr lang="en-BE"/>
                    </a:p>
                  </a:txBody>
                  <a:tcPr anchor="ctr">
                    <a:solidFill>
                      <a:schemeClr val="accent2">
                        <a:lumMod val="40000"/>
                        <a:lumOff val="60000"/>
                      </a:schemeClr>
                    </a:solidFill>
                  </a:tcPr>
                </a:tc>
                <a:tc>
                  <a:txBody>
                    <a:bodyPr/>
                    <a:lstStyle/>
                    <a:p>
                      <a:pPr algn="ctr"/>
                      <a:r>
                        <a:rPr lang="en-US"/>
                        <a:t>Spring boot  PostgreSQL</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212318967"/>
                  </a:ext>
                </a:extLst>
              </a:tr>
              <a:tr h="322580">
                <a:tc vMerge="1">
                  <a:txBody>
                    <a:bodyPr/>
                    <a:lstStyle/>
                    <a:p>
                      <a:endParaRPr lang="en-BE"/>
                    </a:p>
                  </a:txBody>
                  <a:tcPr/>
                </a:tc>
                <a:tc>
                  <a:txBody>
                    <a:bodyPr/>
                    <a:lstStyle/>
                    <a:p>
                      <a:pPr algn="ctr"/>
                      <a:r>
                        <a:rPr lang="en-US" sz="1350" b="1" kern="1200" err="1">
                          <a:solidFill>
                            <a:schemeClr val="lt1"/>
                          </a:solidFill>
                          <a:latin typeface="+mn-lt"/>
                          <a:ea typeface="+mn-ea"/>
                          <a:cs typeface="+mn-cs"/>
                        </a:rPr>
                        <a:t>CovidSafe</a:t>
                      </a:r>
                      <a:endParaRPr lang="en-BE" sz="1350" b="1" kern="1200">
                        <a:solidFill>
                          <a:schemeClr val="lt1"/>
                        </a:solidFill>
                        <a:latin typeface="+mn-lt"/>
                        <a:ea typeface="+mn-ea"/>
                        <a:cs typeface="+mn-cs"/>
                      </a:endParaRPr>
                    </a:p>
                  </a:txBody>
                  <a:tcPr anchor="ctr">
                    <a:solidFill>
                      <a:schemeClr val="accent2"/>
                    </a:solid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rowSpan="2">
                  <a:txBody>
                    <a:bodyPr/>
                    <a:lstStyle/>
                    <a:p>
                      <a:pPr algn="ctr"/>
                      <a:r>
                        <a:rPr lang="en-US"/>
                        <a:t>Flutter</a:t>
                      </a:r>
                      <a:endParaRPr lang="en-BE"/>
                    </a:p>
                  </a:txBody>
                  <a:tcPr anchor="ctr">
                    <a:solidFill>
                      <a:schemeClr val="accent2">
                        <a:lumMod val="40000"/>
                        <a:lumOff val="60000"/>
                      </a:schemeClr>
                    </a:solidFill>
                  </a:tcPr>
                </a:tc>
                <a:tc rowSpan="2">
                  <a:txBody>
                    <a:bodyPr/>
                    <a:lstStyle/>
                    <a:p>
                      <a:pPr algn="ctr"/>
                      <a:r>
                        <a:rPr lang="en-US" b="0"/>
                        <a:t>N.A</a:t>
                      </a:r>
                      <a:endParaRPr lang="en-BE" b="0"/>
                    </a:p>
                  </a:txBody>
                  <a:tcPr anchor="ctr">
                    <a:solidFill>
                      <a:schemeClr val="accent2">
                        <a:lumMod val="40000"/>
                        <a:lumOff val="60000"/>
                      </a:schemeClr>
                    </a:solid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925122870"/>
                  </a:ext>
                </a:extLst>
              </a:tr>
              <a:tr h="175239">
                <a:tc vMerge="1">
                  <a:txBody>
                    <a:bodyPr/>
                    <a:lstStyle/>
                    <a:p>
                      <a:endParaRPr lang="en-BE"/>
                    </a:p>
                  </a:txBody>
                  <a:tcPr/>
                </a:tc>
                <a:tc>
                  <a:txBody>
                    <a:bodyPr/>
                    <a:lstStyle/>
                    <a:p>
                      <a:pPr algn="ctr"/>
                      <a:r>
                        <a:rPr lang="en-US" sz="1350" b="1" kern="1200" err="1">
                          <a:solidFill>
                            <a:schemeClr val="lt1"/>
                          </a:solidFill>
                          <a:latin typeface="+mn-lt"/>
                          <a:ea typeface="+mn-ea"/>
                          <a:cs typeface="+mn-cs"/>
                        </a:rPr>
                        <a:t>CovidScan</a:t>
                      </a:r>
                      <a:endParaRPr lang="en-BE" sz="1350" b="1" kern="1200">
                        <a:solidFill>
                          <a:schemeClr val="lt1"/>
                        </a:solidFill>
                        <a:latin typeface="+mn-lt"/>
                        <a:ea typeface="+mn-ea"/>
                        <a:cs typeface="+mn-cs"/>
                      </a:endParaRPr>
                    </a:p>
                  </a:txBody>
                  <a:tcPr anchor="ctr">
                    <a:solidFill>
                      <a:schemeClr val="accent2"/>
                    </a:solidFill>
                  </a:tcPr>
                </a:tc>
                <a:tc vMerge="1">
                  <a:txBody>
                    <a:bodyPr/>
                    <a:lstStyle/>
                    <a:p>
                      <a:endParaRPr lang="en-BE"/>
                    </a:p>
                  </a:txBody>
                  <a:tcPr/>
                </a:tc>
                <a:tc vMerge="1">
                  <a:txBody>
                    <a:bodyPr/>
                    <a:lstStyle/>
                    <a:p>
                      <a:endParaRPr lang="en-BE"/>
                    </a:p>
                  </a:txBody>
                  <a:tcPr/>
                </a:tc>
                <a:tc vMerge="1">
                  <a:txBody>
                    <a:bodyPr/>
                    <a:lstStyle/>
                    <a:p>
                      <a:endParaRPr lang="en-BE"/>
                    </a:p>
                  </a:txBody>
                  <a:tcPr/>
                </a:tc>
                <a:tc vMerge="1">
                  <a:txBody>
                    <a:bodyPr/>
                    <a:lstStyle/>
                    <a:p>
                      <a:endParaRPr lang="fr-LU"/>
                    </a:p>
                  </a:txBody>
                  <a:tcPr/>
                </a:tc>
                <a:extLst>
                  <a:ext uri="{0D108BD9-81ED-4DB2-BD59-A6C34878D82A}">
                    <a16:rowId xmlns:a16="http://schemas.microsoft.com/office/drawing/2014/main" val="635143750"/>
                  </a:ext>
                </a:extLst>
              </a:tr>
              <a:tr h="525717">
                <a:tc>
                  <a:txBody>
                    <a:bodyPr/>
                    <a:lstStyle/>
                    <a:p>
                      <a:pPr algn="ctr"/>
                      <a:r>
                        <a:rPr lang="en-US"/>
                        <a:t>FR</a:t>
                      </a:r>
                      <a:endParaRPr lang="en-BE"/>
                    </a:p>
                  </a:txBody>
                  <a:tcPr anchor="ctr">
                    <a:solidFill>
                      <a:schemeClr val="accent2">
                        <a:lumMod val="75000"/>
                      </a:schemeClr>
                    </a:solidFill>
                  </a:tcPr>
                </a:tc>
                <a:tc>
                  <a:txBody>
                    <a:bodyPr/>
                    <a:lstStyle/>
                    <a:p>
                      <a:pPr algn="ctr"/>
                      <a:r>
                        <a:rPr lang="en-US" sz="1350" b="1" kern="1200" err="1">
                          <a:solidFill>
                            <a:schemeClr val="lt1"/>
                          </a:solidFill>
                          <a:latin typeface="+mn-lt"/>
                          <a:ea typeface="+mn-ea"/>
                          <a:cs typeface="+mn-cs"/>
                        </a:rPr>
                        <a:t>TousAntiCovid</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algn="ctr"/>
                      <a:r>
                        <a:rPr lang="en-US"/>
                        <a:t>Android stack</a:t>
                      </a:r>
                    </a:p>
                  </a:txBody>
                  <a:tcPr anchor="ctr">
                    <a:solidFill>
                      <a:schemeClr val="accent2">
                        <a:lumMod val="40000"/>
                        <a:lumOff val="60000"/>
                      </a:schemeClr>
                    </a:solidFill>
                  </a:tcPr>
                </a:tc>
                <a:tc>
                  <a:txBody>
                    <a:bodyPr/>
                    <a:lstStyle/>
                    <a:p>
                      <a:pPr algn="ctr"/>
                      <a:r>
                        <a:rPr lang="fr-FR"/>
                        <a:t>Spring boot</a:t>
                      </a:r>
                    </a:p>
                    <a:p>
                      <a:pPr algn="ctr"/>
                      <a:r>
                        <a:rPr lang="fr-FR"/>
                        <a:t>PostgreSQL</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560187771"/>
                  </a:ext>
                </a:extLst>
              </a:tr>
              <a:tr h="525717">
                <a:tc>
                  <a:txBody>
                    <a:bodyPr/>
                    <a:lstStyle/>
                    <a:p>
                      <a:pPr algn="ctr"/>
                      <a:r>
                        <a:rPr lang="en-US"/>
                        <a:t>LU</a:t>
                      </a:r>
                      <a:endParaRPr lang="en-BE"/>
                    </a:p>
                  </a:txBody>
                  <a:tcPr anchor="ctr">
                    <a:solidFill>
                      <a:schemeClr val="accent2">
                        <a:lumMod val="75000"/>
                      </a:schemeClr>
                    </a:solidFill>
                  </a:tcPr>
                </a:tc>
                <a:tc>
                  <a:txBody>
                    <a:bodyPr/>
                    <a:lstStyle/>
                    <a:p>
                      <a:pPr algn="ctr"/>
                      <a:r>
                        <a:rPr lang="en-US" sz="1350" b="1" kern="1200">
                          <a:solidFill>
                            <a:schemeClr val="lt1"/>
                          </a:solidFill>
                          <a:latin typeface="+mn-lt"/>
                          <a:ea typeface="+mn-ea"/>
                          <a:cs typeface="+mn-cs"/>
                        </a:rPr>
                        <a:t>CovidCheck.lu</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algn="ctr"/>
                      <a:r>
                        <a:rPr lang="en-US"/>
                        <a:t>Cordova JS</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a:t>Spring boot</a:t>
                      </a:r>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1214844597"/>
                  </a:ext>
                </a:extLst>
              </a:tr>
              <a:tr h="525717">
                <a:tc>
                  <a:txBody>
                    <a:bodyPr/>
                    <a:lstStyle/>
                    <a:p>
                      <a:pPr algn="ctr"/>
                      <a:r>
                        <a:rPr lang="fr-FR"/>
                        <a:t>DE</a:t>
                      </a:r>
                      <a:endParaRPr lang="en-BE"/>
                    </a:p>
                  </a:txBody>
                  <a:tcPr anchor="ctr">
                    <a:solidFill>
                      <a:schemeClr val="accent2">
                        <a:lumMod val="75000"/>
                      </a:schemeClr>
                    </a:solidFill>
                  </a:tcPr>
                </a:tc>
                <a:tc>
                  <a:txBody>
                    <a:bodyPr/>
                    <a:lstStyle/>
                    <a:p>
                      <a:pPr algn="ctr"/>
                      <a:r>
                        <a:rPr lang="fr-FR" sz="1350" b="1" kern="1200">
                          <a:solidFill>
                            <a:schemeClr val="lt1"/>
                          </a:solidFill>
                          <a:latin typeface="+mn-lt"/>
                          <a:ea typeface="+mn-ea"/>
                          <a:cs typeface="+mn-cs"/>
                        </a:rPr>
                        <a:t>Corona </a:t>
                      </a:r>
                      <a:r>
                        <a:rPr lang="fr-FR" sz="1350" b="1" kern="1200" err="1">
                          <a:solidFill>
                            <a:schemeClr val="lt1"/>
                          </a:solidFill>
                          <a:latin typeface="+mn-lt"/>
                          <a:ea typeface="+mn-ea"/>
                          <a:cs typeface="+mn-cs"/>
                        </a:rPr>
                        <a:t>Warn</a:t>
                      </a:r>
                      <a:r>
                        <a:rPr lang="fr-FR" sz="1350" b="1" kern="1200">
                          <a:solidFill>
                            <a:schemeClr val="lt1"/>
                          </a:solidFill>
                          <a:latin typeface="+mn-lt"/>
                          <a:ea typeface="+mn-ea"/>
                          <a:cs typeface="+mn-cs"/>
                        </a:rPr>
                        <a:t> App</a:t>
                      </a:r>
                      <a:endParaRPr lang="en-BE" sz="1350" b="1" kern="1200">
                        <a:solidFill>
                          <a:schemeClr val="lt1"/>
                        </a:solidFill>
                        <a:latin typeface="+mn-lt"/>
                        <a:ea typeface="+mn-ea"/>
                        <a:cs typeface="+mn-cs"/>
                      </a:endParaRPr>
                    </a:p>
                  </a:txBody>
                  <a:tcPr anchor="ctr">
                    <a:solidFill>
                      <a:schemeClr val="accent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40000"/>
                        <a:lumOff val="60000"/>
                      </a:schemeClr>
                    </a:solidFill>
                  </a:tcPr>
                </a:tc>
                <a:tc>
                  <a:txBody>
                    <a:bodyPr/>
                    <a:lstStyle/>
                    <a:p>
                      <a:pPr algn="ctr"/>
                      <a:r>
                        <a:rPr lang="fr-FR"/>
                        <a:t>Android stack</a:t>
                      </a:r>
                      <a:endParaRPr lang="en-BE"/>
                    </a:p>
                  </a:txBody>
                  <a:tcPr anchor="ctr">
                    <a:solidFill>
                      <a:schemeClr val="accent2">
                        <a:lumMod val="40000"/>
                        <a:lumOff val="60000"/>
                      </a:schemeClr>
                    </a:solidFill>
                  </a:tcPr>
                </a:tc>
                <a:tc>
                  <a:txBody>
                    <a:bodyPr/>
                    <a:lstStyle/>
                    <a:p>
                      <a:pPr algn="ctr"/>
                      <a:r>
                        <a:rPr lang="fr-FR"/>
                        <a:t>Spring boot</a:t>
                      </a:r>
                    </a:p>
                    <a:p>
                      <a:pPr algn="ctr"/>
                      <a:r>
                        <a:rPr lang="fr-FR"/>
                        <a:t>PostgreSQL</a:t>
                      </a:r>
                      <a:endParaRPr lang="en-BE"/>
                    </a:p>
                  </a:txBody>
                  <a:tcPr anchor="ctr">
                    <a:solidFill>
                      <a:schemeClr val="accent2">
                        <a:lumMod val="40000"/>
                        <a:lumOff val="6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a:t>
                      </a:r>
                      <a:endParaRPr kumimoji="0" lang="en-BE" sz="1350" b="0" i="0" u="none" strike="noStrike" kern="1200" cap="none" spc="0" normalizeH="0" baseline="0" noProof="0">
                        <a:ln>
                          <a:noFill/>
                        </a:ln>
                        <a:solidFill>
                          <a:prstClr val="black"/>
                        </a:solidFill>
                        <a:effectLst/>
                        <a:uLnTx/>
                        <a:uFillTx/>
                        <a:latin typeface="+mn-lt"/>
                        <a:ea typeface="+mn-ea"/>
                        <a:cs typeface="+mn-cs"/>
                      </a:endParaRPr>
                    </a:p>
                  </a:txBody>
                  <a:tcPr anchor="ctr">
                    <a:solidFill>
                      <a:schemeClr val="accent2">
                        <a:lumMod val="40000"/>
                        <a:lumOff val="60000"/>
                      </a:schemeClr>
                    </a:solidFill>
                  </a:tcPr>
                </a:tc>
                <a:extLst>
                  <a:ext uri="{0D108BD9-81ED-4DB2-BD59-A6C34878D82A}">
                    <a16:rowId xmlns:a16="http://schemas.microsoft.com/office/drawing/2014/main" val="763187678"/>
                  </a:ext>
                </a:extLst>
              </a:tr>
            </a:tbl>
          </a:graphicData>
        </a:graphic>
      </p:graphicFrame>
      <p:sp>
        <p:nvSpPr>
          <p:cNvPr id="5" name="TextBox 23">
            <a:extLst>
              <a:ext uri="{FF2B5EF4-FFF2-40B4-BE49-F238E27FC236}">
                <a16:creationId xmlns:a16="http://schemas.microsoft.com/office/drawing/2014/main" id="{8B42332C-E03B-4F53-B7CE-BC37999C8DC8}"/>
              </a:ext>
            </a:extLst>
          </p:cNvPr>
          <p:cNvSpPr txBox="1"/>
          <p:nvPr>
            <p:custDataLst>
              <p:tags r:id="rId3"/>
            </p:custDataLst>
          </p:nvPr>
        </p:nvSpPr>
        <p:spPr>
          <a:xfrm>
            <a:off x="654225" y="878832"/>
            <a:ext cx="2457781" cy="400110"/>
          </a:xfrm>
          <a:prstGeom prst="rect">
            <a:avLst/>
          </a:prstGeom>
          <a:noFill/>
        </p:spPr>
        <p:txBody>
          <a:bodyPr wrap="square" rtlCol="0">
            <a:spAutoFit/>
          </a:bodyPr>
          <a:lstStyle/>
          <a:p>
            <a:r>
              <a:rPr lang="en-US" sz="2000">
                <a:solidFill>
                  <a:srgbClr val="B5B1D9"/>
                </a:solidFill>
                <a:latin typeface="Helvetica" pitchFamily="2" charset="0"/>
                <a:cs typeface="Arial"/>
                <a:sym typeface="Arial"/>
              </a:rPr>
              <a:t>Design</a:t>
            </a:r>
          </a:p>
        </p:txBody>
      </p:sp>
      <p:grpSp>
        <p:nvGrpSpPr>
          <p:cNvPr id="6" name="Group 5">
            <a:extLst>
              <a:ext uri="{FF2B5EF4-FFF2-40B4-BE49-F238E27FC236}">
                <a16:creationId xmlns:a16="http://schemas.microsoft.com/office/drawing/2014/main" id="{AA67DC3A-E2F6-4AFE-9AE0-E6246013628F}"/>
              </a:ext>
            </a:extLst>
          </p:cNvPr>
          <p:cNvGrpSpPr/>
          <p:nvPr>
            <p:custDataLst>
              <p:tags r:id="rId4"/>
            </p:custDataLst>
          </p:nvPr>
        </p:nvGrpSpPr>
        <p:grpSpPr>
          <a:xfrm>
            <a:off x="168500" y="2414012"/>
            <a:ext cx="345864" cy="2098566"/>
            <a:chOff x="109089" y="2431068"/>
            <a:chExt cx="360000" cy="2184342"/>
          </a:xfrm>
        </p:grpSpPr>
        <p:pic>
          <p:nvPicPr>
            <p:cNvPr id="7" name="Picture 6" descr="Shape, background pattern, rectangle&#10;&#10;Description automatically generated">
              <a:extLst>
                <a:ext uri="{FF2B5EF4-FFF2-40B4-BE49-F238E27FC236}">
                  <a16:creationId xmlns:a16="http://schemas.microsoft.com/office/drawing/2014/main" id="{7869D1D6-7064-4999-8648-556F3C887905}"/>
                </a:ext>
              </a:extLst>
            </p:cNvPr>
            <p:cNvPicPr>
              <a:picLocks noChangeAspect="1"/>
            </p:cNvPicPr>
            <p:nvPr/>
          </p:nvPicPr>
          <p:blipFill>
            <a:blip r:embed="rId7"/>
            <a:stretch>
              <a:fillRect/>
            </a:stretch>
          </p:blipFill>
          <p:spPr>
            <a:xfrm>
              <a:off x="109089" y="4399410"/>
              <a:ext cx="360000" cy="216000"/>
            </a:xfrm>
            <a:prstGeom prst="rect">
              <a:avLst/>
            </a:prstGeom>
          </p:spPr>
        </p:pic>
        <p:pic>
          <p:nvPicPr>
            <p:cNvPr id="8" name="Picture 7" descr="Background pattern&#10;&#10;Description automatically generated with medium confidence">
              <a:extLst>
                <a:ext uri="{FF2B5EF4-FFF2-40B4-BE49-F238E27FC236}">
                  <a16:creationId xmlns:a16="http://schemas.microsoft.com/office/drawing/2014/main" id="{8E9ADB0A-C688-49F7-9186-5F2DDBB255B2}"/>
                </a:ext>
              </a:extLst>
            </p:cNvPr>
            <p:cNvPicPr>
              <a:picLocks noChangeAspect="1"/>
            </p:cNvPicPr>
            <p:nvPr/>
          </p:nvPicPr>
          <p:blipFill>
            <a:blip r:embed="rId8"/>
            <a:stretch>
              <a:fillRect/>
            </a:stretch>
          </p:blipFill>
          <p:spPr>
            <a:xfrm>
              <a:off x="109089" y="2431068"/>
              <a:ext cx="360000" cy="312000"/>
            </a:xfrm>
            <a:prstGeom prst="rect">
              <a:avLst/>
            </a:prstGeom>
          </p:spPr>
        </p:pic>
        <p:pic>
          <p:nvPicPr>
            <p:cNvPr id="9" name="Picture 8" descr="Shape, rectangle&#10;&#10;Description automatically generated">
              <a:extLst>
                <a:ext uri="{FF2B5EF4-FFF2-40B4-BE49-F238E27FC236}">
                  <a16:creationId xmlns:a16="http://schemas.microsoft.com/office/drawing/2014/main" id="{E84782E1-644C-444C-98E7-E859FBFD2B4A}"/>
                </a:ext>
              </a:extLst>
            </p:cNvPr>
            <p:cNvPicPr>
              <a:picLocks noChangeAspect="1"/>
            </p:cNvPicPr>
            <p:nvPr/>
          </p:nvPicPr>
          <p:blipFill>
            <a:blip r:embed="rId9"/>
            <a:stretch>
              <a:fillRect/>
            </a:stretch>
          </p:blipFill>
          <p:spPr>
            <a:xfrm>
              <a:off x="109089" y="3888706"/>
              <a:ext cx="360000" cy="216000"/>
            </a:xfrm>
            <a:prstGeom prst="rect">
              <a:avLst/>
            </a:prstGeom>
          </p:spPr>
        </p:pic>
        <p:pic>
          <p:nvPicPr>
            <p:cNvPr id="10" name="Picture 9" descr="Shape&#10;&#10;Description automatically generated">
              <a:extLst>
                <a:ext uri="{FF2B5EF4-FFF2-40B4-BE49-F238E27FC236}">
                  <a16:creationId xmlns:a16="http://schemas.microsoft.com/office/drawing/2014/main" id="{4DDCD163-9C22-4F1B-867C-3EC076534BB2}"/>
                </a:ext>
              </a:extLst>
            </p:cNvPr>
            <p:cNvPicPr>
              <a:picLocks noChangeAspect="1"/>
            </p:cNvPicPr>
            <p:nvPr/>
          </p:nvPicPr>
          <p:blipFill>
            <a:blip r:embed="rId10"/>
            <a:stretch>
              <a:fillRect/>
            </a:stretch>
          </p:blipFill>
          <p:spPr>
            <a:xfrm>
              <a:off x="109089" y="3298811"/>
              <a:ext cx="360000" cy="312000"/>
            </a:xfrm>
            <a:prstGeom prst="rect">
              <a:avLst/>
            </a:prstGeom>
          </p:spPr>
        </p:pic>
      </p:grpSp>
    </p:spTree>
    <p:extLst>
      <p:ext uri="{BB962C8B-B14F-4D97-AF65-F5344CB8AC3E}">
        <p14:creationId xmlns:p14="http://schemas.microsoft.com/office/powerpoint/2010/main" val="1324698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3">
            <a:extLst>
              <a:ext uri="{FF2B5EF4-FFF2-40B4-BE49-F238E27FC236}">
                <a16:creationId xmlns:a16="http://schemas.microsoft.com/office/drawing/2014/main" id="{0E87D8D9-34E4-CF48-A15B-512199FF8322}"/>
              </a:ext>
            </a:extLst>
          </p:cNvPr>
          <p:cNvSpPr txBox="1"/>
          <p:nvPr>
            <p:custDataLst>
              <p:tags r:id="rId1"/>
            </p:custDataLst>
          </p:nvPr>
        </p:nvSpPr>
        <p:spPr>
          <a:xfrm>
            <a:off x="645080" y="940758"/>
            <a:ext cx="4498420" cy="400110"/>
          </a:xfrm>
          <a:prstGeom prst="rect">
            <a:avLst/>
          </a:prstGeom>
          <a:noFill/>
        </p:spPr>
        <p:txBody>
          <a:bodyPr wrap="square" rtlCol="0">
            <a:spAutoFit/>
          </a:bodyPr>
          <a:lstStyle/>
          <a:p>
            <a:r>
              <a:rPr lang="en-US" sz="2000">
                <a:solidFill>
                  <a:srgbClr val="B5B1D9"/>
                </a:solidFill>
                <a:latin typeface="Helvetica" pitchFamily="2" charset="0"/>
                <a:cs typeface="Arial"/>
                <a:sym typeface="Arial"/>
              </a:rPr>
              <a:t>Development budget comparison</a:t>
            </a:r>
          </a:p>
        </p:txBody>
      </p:sp>
      <p:sp>
        <p:nvSpPr>
          <p:cNvPr id="6" name="Text Placeholder 3">
            <a:extLst>
              <a:ext uri="{FF2B5EF4-FFF2-40B4-BE49-F238E27FC236}">
                <a16:creationId xmlns:a16="http://schemas.microsoft.com/office/drawing/2014/main" id="{32C6BDDD-F533-2041-965A-8F8BEF34BDD6}"/>
              </a:ext>
            </a:extLst>
          </p:cNvPr>
          <p:cNvSpPr txBox="1">
            <a:spLocks/>
          </p:cNvSpPr>
          <p:nvPr>
            <p:custDataLst>
              <p:tags r:id="rId2"/>
            </p:custDataLst>
          </p:nvPr>
        </p:nvSpPr>
        <p:spPr>
          <a:xfrm>
            <a:off x="421807" y="1890142"/>
            <a:ext cx="2681055" cy="2599562"/>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buNone/>
              <a:defRPr/>
            </a:pPr>
            <a:r>
              <a:rPr lang="en-GB" sz="1200">
                <a:solidFill>
                  <a:schemeClr val="bg1">
                    <a:lumMod val="65000"/>
                  </a:schemeClr>
                </a:solidFill>
                <a:latin typeface="Helvetica" pitchFamily="2" charset="0"/>
              </a:rPr>
              <a:t>Budget for </a:t>
            </a:r>
            <a:r>
              <a:rPr lang="en-GB" sz="1200" b="1">
                <a:solidFill>
                  <a:schemeClr val="bg1">
                    <a:lumMod val="65000"/>
                  </a:schemeClr>
                </a:solidFill>
                <a:latin typeface="Helvetica" pitchFamily="2" charset="0"/>
              </a:rPr>
              <a:t>contact tracing apps only</a:t>
            </a:r>
          </a:p>
          <a:p>
            <a:pPr marL="0" indent="0" defTabSz="685800">
              <a:spcBef>
                <a:spcPts val="900"/>
              </a:spcBef>
              <a:buNone/>
              <a:defRPr/>
            </a:pPr>
            <a:endParaRPr lang="en-GB" sz="1200">
              <a:solidFill>
                <a:schemeClr val="bg1">
                  <a:lumMod val="65000"/>
                </a:schemeClr>
              </a:solidFill>
              <a:latin typeface="Helvetica" pitchFamily="2" charset="0"/>
            </a:endParaRPr>
          </a:p>
        </p:txBody>
      </p:sp>
      <p:graphicFrame>
        <p:nvGraphicFramePr>
          <p:cNvPr id="7" name="Chart Placeholder 9">
            <a:extLst>
              <a:ext uri="{FF2B5EF4-FFF2-40B4-BE49-F238E27FC236}">
                <a16:creationId xmlns:a16="http://schemas.microsoft.com/office/drawing/2014/main" id="{836167B7-6775-3E4A-B03C-A4B9E52D0726}"/>
              </a:ext>
            </a:extLst>
          </p:cNvPr>
          <p:cNvGraphicFramePr>
            <a:graphicFrameLocks/>
          </p:cNvGraphicFramePr>
          <p:nvPr>
            <p:custDataLst>
              <p:tags r:id="rId3"/>
            </p:custDataLst>
            <p:extLst>
              <p:ext uri="{D42A27DB-BD31-4B8C-83A1-F6EECF244321}">
                <p14:modId xmlns:p14="http://schemas.microsoft.com/office/powerpoint/2010/main" val="1089141666"/>
              </p:ext>
            </p:extLst>
          </p:nvPr>
        </p:nvGraphicFramePr>
        <p:xfrm>
          <a:off x="4014086" y="829299"/>
          <a:ext cx="4743401" cy="3495146"/>
        </p:xfrm>
        <a:graphic>
          <a:graphicData uri="http://schemas.openxmlformats.org/drawingml/2006/chart">
            <c:chart xmlns:c="http://schemas.openxmlformats.org/drawingml/2006/chart" xmlns:r="http://schemas.openxmlformats.org/officeDocument/2006/relationships" r:id="rId14"/>
          </a:graphicData>
        </a:graphic>
      </p:graphicFrame>
      <p:pic>
        <p:nvPicPr>
          <p:cNvPr id="5" name="Picture 4" descr="A person talking on a cell phone&#10;&#10;Description automatically generated">
            <a:extLst>
              <a:ext uri="{FF2B5EF4-FFF2-40B4-BE49-F238E27FC236}">
                <a16:creationId xmlns:a16="http://schemas.microsoft.com/office/drawing/2014/main" id="{46C70B22-3337-4E7F-BDB7-E7BC3B0F8CE9}"/>
              </a:ext>
            </a:extLst>
          </p:cNvPr>
          <p:cNvPicPr>
            <a:picLocks noChangeAspect="1"/>
          </p:cNvPicPr>
          <p:nvPr>
            <p:custDataLst>
              <p:tags r:id="rId4"/>
            </p:custDataLst>
          </p:nvPr>
        </p:nvPicPr>
        <p:blipFill>
          <a:blip r:embed="rId15"/>
          <a:stretch>
            <a:fillRect/>
          </a:stretch>
        </p:blipFill>
        <p:spPr>
          <a:xfrm>
            <a:off x="341432" y="2303128"/>
            <a:ext cx="3003327" cy="1872908"/>
          </a:xfrm>
          <a:prstGeom prst="rect">
            <a:avLst/>
          </a:prstGeom>
          <a:ln>
            <a:solidFill>
              <a:schemeClr val="tx1"/>
            </a:solidFill>
          </a:ln>
        </p:spPr>
      </p:pic>
      <p:sp>
        <p:nvSpPr>
          <p:cNvPr id="9" name="TextBox 5">
            <a:extLst>
              <a:ext uri="{FF2B5EF4-FFF2-40B4-BE49-F238E27FC236}">
                <a16:creationId xmlns:a16="http://schemas.microsoft.com/office/drawing/2014/main" id="{358B959F-C6C3-4AF8-AAA9-9D63DCC260CB}"/>
              </a:ext>
            </a:extLst>
          </p:cNvPr>
          <p:cNvSpPr txBox="1"/>
          <p:nvPr>
            <p:custDataLst>
              <p:tags r:id="rId5"/>
            </p:custDataLst>
          </p:nvPr>
        </p:nvSpPr>
        <p:spPr>
          <a:xfrm>
            <a:off x="341432" y="294427"/>
            <a:ext cx="6478112" cy="646331"/>
          </a:xfrm>
          <a:prstGeom prst="rect">
            <a:avLst/>
          </a:prstGeom>
          <a:noFill/>
        </p:spPr>
        <p:txBody>
          <a:bodyPr wrap="square" rtlCol="0">
            <a:spAutoFit/>
          </a:bodyPr>
          <a:lstStyle/>
          <a:p>
            <a:r>
              <a:rPr lang="en-US" sz="3600">
                <a:solidFill>
                  <a:srgbClr val="7030A0"/>
                </a:solidFill>
                <a:latin typeface="Helvetica" pitchFamily="2" charset="0"/>
              </a:rPr>
              <a:t>1. Comparison</a:t>
            </a:r>
            <a:endParaRPr lang="en-US" sz="3600">
              <a:solidFill>
                <a:srgbClr val="7030A0"/>
              </a:solidFill>
              <a:latin typeface="Helvetica" pitchFamily="2" charset="0"/>
              <a:cs typeface="Arial"/>
              <a:sym typeface="Arial"/>
            </a:endParaRPr>
          </a:p>
        </p:txBody>
      </p:sp>
      <p:grpSp>
        <p:nvGrpSpPr>
          <p:cNvPr id="36" name="Group 35">
            <a:extLst>
              <a:ext uri="{FF2B5EF4-FFF2-40B4-BE49-F238E27FC236}">
                <a16:creationId xmlns:a16="http://schemas.microsoft.com/office/drawing/2014/main" id="{F87077FE-FAA9-4C52-8017-18D19143075A}"/>
              </a:ext>
            </a:extLst>
          </p:cNvPr>
          <p:cNvGrpSpPr/>
          <p:nvPr>
            <p:custDataLst>
              <p:tags r:id="rId6"/>
            </p:custDataLst>
          </p:nvPr>
        </p:nvGrpSpPr>
        <p:grpSpPr>
          <a:xfrm>
            <a:off x="4595966" y="2018100"/>
            <a:ext cx="559345" cy="2586486"/>
            <a:chOff x="4595966" y="2018100"/>
            <a:chExt cx="559345" cy="2586486"/>
          </a:xfrm>
        </p:grpSpPr>
        <p:grpSp>
          <p:nvGrpSpPr>
            <p:cNvPr id="28" name="Group 27">
              <a:extLst>
                <a:ext uri="{FF2B5EF4-FFF2-40B4-BE49-F238E27FC236}">
                  <a16:creationId xmlns:a16="http://schemas.microsoft.com/office/drawing/2014/main" id="{ED015A9B-9D8C-48AC-B264-CF6F031A387B}"/>
                </a:ext>
              </a:extLst>
            </p:cNvPr>
            <p:cNvGrpSpPr/>
            <p:nvPr/>
          </p:nvGrpSpPr>
          <p:grpSpPr>
            <a:xfrm>
              <a:off x="4752049" y="2018100"/>
              <a:ext cx="251460" cy="2366335"/>
              <a:chOff x="4752049" y="2018100"/>
              <a:chExt cx="251460" cy="2366335"/>
            </a:xfrm>
          </p:grpSpPr>
          <p:pic>
            <p:nvPicPr>
              <p:cNvPr id="11" name="Picture 10" descr="Logo, company name&#10;&#10;Description automatically generated">
                <a:extLst>
                  <a:ext uri="{FF2B5EF4-FFF2-40B4-BE49-F238E27FC236}">
                    <a16:creationId xmlns:a16="http://schemas.microsoft.com/office/drawing/2014/main" id="{470B6517-1F8D-4832-9DDE-A718244F9030}"/>
                  </a:ext>
                </a:extLst>
              </p:cNvPr>
              <p:cNvPicPr>
                <a:picLocks noChangeAspect="1"/>
              </p:cNvPicPr>
              <p:nvPr/>
            </p:nvPicPr>
            <p:blipFill>
              <a:blip r:embed="rId16"/>
              <a:stretch>
                <a:fillRect/>
              </a:stretch>
            </p:blipFill>
            <p:spPr>
              <a:xfrm>
                <a:off x="4752049" y="4258705"/>
                <a:ext cx="251460" cy="125730"/>
              </a:xfrm>
              <a:prstGeom prst="rect">
                <a:avLst/>
              </a:prstGeom>
            </p:spPr>
          </p:pic>
          <p:sp>
            <p:nvSpPr>
              <p:cNvPr id="17" name="Rectangle 16">
                <a:extLst>
                  <a:ext uri="{FF2B5EF4-FFF2-40B4-BE49-F238E27FC236}">
                    <a16:creationId xmlns:a16="http://schemas.microsoft.com/office/drawing/2014/main" id="{156EC557-13DF-41DB-AE2C-CADF0C884068}"/>
                  </a:ext>
                </a:extLst>
              </p:cNvPr>
              <p:cNvSpPr/>
              <p:nvPr/>
            </p:nvSpPr>
            <p:spPr>
              <a:xfrm>
                <a:off x="4771580" y="2018100"/>
                <a:ext cx="209550" cy="21419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BE"/>
              </a:p>
            </p:txBody>
          </p:sp>
        </p:grpSp>
        <p:sp>
          <p:nvSpPr>
            <p:cNvPr id="21" name="TextBox 20">
              <a:extLst>
                <a:ext uri="{FF2B5EF4-FFF2-40B4-BE49-F238E27FC236}">
                  <a16:creationId xmlns:a16="http://schemas.microsoft.com/office/drawing/2014/main" id="{94CDD81B-92A2-4C67-B313-E466CE42373F}"/>
                </a:ext>
              </a:extLst>
            </p:cNvPr>
            <p:cNvSpPr txBox="1"/>
            <p:nvPr/>
          </p:nvSpPr>
          <p:spPr>
            <a:xfrm>
              <a:off x="4595966" y="4404531"/>
              <a:ext cx="559345" cy="200055"/>
            </a:xfrm>
            <a:prstGeom prst="rect">
              <a:avLst/>
            </a:prstGeom>
            <a:noFill/>
          </p:spPr>
          <p:txBody>
            <a:bodyPr wrap="square" rtlCol="0">
              <a:spAutoFit/>
            </a:bodyPr>
            <a:lstStyle/>
            <a:p>
              <a:pPr algn="ctr"/>
              <a:r>
                <a:rPr lang="en-US" sz="700" b="1">
                  <a:solidFill>
                    <a:schemeClr val="tx1"/>
                  </a:solidFill>
                </a:rPr>
                <a:t>41 M</a:t>
              </a:r>
            </a:p>
          </p:txBody>
        </p:sp>
      </p:grpSp>
      <p:grpSp>
        <p:nvGrpSpPr>
          <p:cNvPr id="35" name="Group 34">
            <a:extLst>
              <a:ext uri="{FF2B5EF4-FFF2-40B4-BE49-F238E27FC236}">
                <a16:creationId xmlns:a16="http://schemas.microsoft.com/office/drawing/2014/main" id="{7A6A0A94-423B-4D2D-B1B1-519884EF8C45}"/>
              </a:ext>
            </a:extLst>
          </p:cNvPr>
          <p:cNvGrpSpPr/>
          <p:nvPr>
            <p:custDataLst>
              <p:tags r:id="rId7"/>
            </p:custDataLst>
          </p:nvPr>
        </p:nvGrpSpPr>
        <p:grpSpPr>
          <a:xfrm>
            <a:off x="5245320" y="3107058"/>
            <a:ext cx="482921" cy="1497528"/>
            <a:chOff x="5245320" y="3107058"/>
            <a:chExt cx="482921" cy="1497528"/>
          </a:xfrm>
        </p:grpSpPr>
        <p:grpSp>
          <p:nvGrpSpPr>
            <p:cNvPr id="27" name="Group 26">
              <a:extLst>
                <a:ext uri="{FF2B5EF4-FFF2-40B4-BE49-F238E27FC236}">
                  <a16:creationId xmlns:a16="http://schemas.microsoft.com/office/drawing/2014/main" id="{899440B7-D65F-46EE-AD4F-570D8C322164}"/>
                </a:ext>
              </a:extLst>
            </p:cNvPr>
            <p:cNvGrpSpPr/>
            <p:nvPr/>
          </p:nvGrpSpPr>
          <p:grpSpPr>
            <a:xfrm>
              <a:off x="5309186" y="3107058"/>
              <a:ext cx="217420" cy="1277377"/>
              <a:chOff x="5309186" y="3107058"/>
              <a:chExt cx="217420" cy="1277377"/>
            </a:xfrm>
          </p:grpSpPr>
          <p:sp>
            <p:nvSpPr>
              <p:cNvPr id="8" name="Rectangle 7">
                <a:extLst>
                  <a:ext uri="{FF2B5EF4-FFF2-40B4-BE49-F238E27FC236}">
                    <a16:creationId xmlns:a16="http://schemas.microsoft.com/office/drawing/2014/main" id="{7333A410-3ED2-471B-ADCD-3A4E6AB70772}"/>
                  </a:ext>
                </a:extLst>
              </p:cNvPr>
              <p:cNvSpPr/>
              <p:nvPr/>
            </p:nvSpPr>
            <p:spPr>
              <a:xfrm>
                <a:off x="5309186" y="3107058"/>
                <a:ext cx="209550" cy="10437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0" name="Picture 19" descr="Shape, background pattern, rectangle&#10;&#10;Description automatically generated">
                <a:extLst>
                  <a:ext uri="{FF2B5EF4-FFF2-40B4-BE49-F238E27FC236}">
                    <a16:creationId xmlns:a16="http://schemas.microsoft.com/office/drawing/2014/main" id="{76B131F5-8362-439A-8667-A13B26B61E7A}"/>
                  </a:ext>
                </a:extLst>
              </p:cNvPr>
              <p:cNvPicPr>
                <a:picLocks noChangeAspect="1"/>
              </p:cNvPicPr>
              <p:nvPr/>
            </p:nvPicPr>
            <p:blipFill>
              <a:blip r:embed="rId17"/>
              <a:stretch>
                <a:fillRect/>
              </a:stretch>
            </p:blipFill>
            <p:spPr>
              <a:xfrm>
                <a:off x="5317056" y="4258705"/>
                <a:ext cx="209550" cy="125730"/>
              </a:xfrm>
              <a:prstGeom prst="rect">
                <a:avLst/>
              </a:prstGeom>
            </p:spPr>
          </p:pic>
        </p:grpSp>
        <p:sp>
          <p:nvSpPr>
            <p:cNvPr id="22" name="TextBox 21">
              <a:extLst>
                <a:ext uri="{FF2B5EF4-FFF2-40B4-BE49-F238E27FC236}">
                  <a16:creationId xmlns:a16="http://schemas.microsoft.com/office/drawing/2014/main" id="{D90E4D01-1B45-4832-9394-5445650D41FC}"/>
                </a:ext>
              </a:extLst>
            </p:cNvPr>
            <p:cNvSpPr txBox="1"/>
            <p:nvPr/>
          </p:nvSpPr>
          <p:spPr>
            <a:xfrm>
              <a:off x="5245320" y="4404531"/>
              <a:ext cx="482921" cy="200055"/>
            </a:xfrm>
            <a:prstGeom prst="rect">
              <a:avLst/>
            </a:prstGeom>
            <a:noFill/>
          </p:spPr>
          <p:txBody>
            <a:bodyPr wrap="square" rtlCol="0">
              <a:spAutoFit/>
            </a:bodyPr>
            <a:lstStyle/>
            <a:p>
              <a:r>
                <a:rPr lang="en-US" sz="700" b="1">
                  <a:solidFill>
                    <a:schemeClr val="tx1"/>
                  </a:solidFill>
                </a:rPr>
                <a:t>20 M</a:t>
              </a:r>
            </a:p>
          </p:txBody>
        </p:sp>
      </p:grpSp>
      <p:grpSp>
        <p:nvGrpSpPr>
          <p:cNvPr id="34" name="Group 33">
            <a:extLst>
              <a:ext uri="{FF2B5EF4-FFF2-40B4-BE49-F238E27FC236}">
                <a16:creationId xmlns:a16="http://schemas.microsoft.com/office/drawing/2014/main" id="{AC927F0D-6770-492F-985F-BB0C5878AF40}"/>
              </a:ext>
            </a:extLst>
          </p:cNvPr>
          <p:cNvGrpSpPr/>
          <p:nvPr>
            <p:custDataLst>
              <p:tags r:id="rId8"/>
            </p:custDataLst>
          </p:nvPr>
        </p:nvGrpSpPr>
        <p:grpSpPr>
          <a:xfrm>
            <a:off x="5804665" y="3694320"/>
            <a:ext cx="482921" cy="918901"/>
            <a:chOff x="5804665" y="3694320"/>
            <a:chExt cx="482921" cy="918901"/>
          </a:xfrm>
        </p:grpSpPr>
        <p:sp>
          <p:nvSpPr>
            <p:cNvPr id="2" name="Rectangle 1">
              <a:extLst>
                <a:ext uri="{FF2B5EF4-FFF2-40B4-BE49-F238E27FC236}">
                  <a16:creationId xmlns:a16="http://schemas.microsoft.com/office/drawing/2014/main" id="{29B3A5D5-68CB-4A29-954D-49A1BC32B4D9}"/>
                </a:ext>
              </a:extLst>
            </p:cNvPr>
            <p:cNvSpPr/>
            <p:nvPr/>
          </p:nvSpPr>
          <p:spPr>
            <a:xfrm>
              <a:off x="5871210" y="3694320"/>
              <a:ext cx="209550" cy="460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4" name="Picture 13" descr="Shape&#10;&#10;Description automatically generated">
              <a:extLst>
                <a:ext uri="{FF2B5EF4-FFF2-40B4-BE49-F238E27FC236}">
                  <a16:creationId xmlns:a16="http://schemas.microsoft.com/office/drawing/2014/main" id="{C4B140AA-06B1-4EEE-BCCB-6BB67E82258C}"/>
                </a:ext>
              </a:extLst>
            </p:cNvPr>
            <p:cNvPicPr>
              <a:picLocks noChangeAspect="1"/>
            </p:cNvPicPr>
            <p:nvPr/>
          </p:nvPicPr>
          <p:blipFill>
            <a:blip r:embed="rId18"/>
            <a:stretch>
              <a:fillRect/>
            </a:stretch>
          </p:blipFill>
          <p:spPr>
            <a:xfrm>
              <a:off x="5890393" y="4243842"/>
              <a:ext cx="189525" cy="164255"/>
            </a:xfrm>
            <a:prstGeom prst="rect">
              <a:avLst/>
            </a:prstGeom>
          </p:spPr>
        </p:pic>
        <p:sp>
          <p:nvSpPr>
            <p:cNvPr id="23" name="TextBox 22">
              <a:extLst>
                <a:ext uri="{FF2B5EF4-FFF2-40B4-BE49-F238E27FC236}">
                  <a16:creationId xmlns:a16="http://schemas.microsoft.com/office/drawing/2014/main" id="{2D7C06CF-ED17-40B5-87CC-2F3D507A04CD}"/>
                </a:ext>
              </a:extLst>
            </p:cNvPr>
            <p:cNvSpPr txBox="1"/>
            <p:nvPr/>
          </p:nvSpPr>
          <p:spPr>
            <a:xfrm>
              <a:off x="5804665" y="4413166"/>
              <a:ext cx="482921" cy="200055"/>
            </a:xfrm>
            <a:prstGeom prst="rect">
              <a:avLst/>
            </a:prstGeom>
            <a:noFill/>
          </p:spPr>
          <p:txBody>
            <a:bodyPr wrap="square" rtlCol="0">
              <a:spAutoFit/>
            </a:bodyPr>
            <a:lstStyle/>
            <a:p>
              <a:r>
                <a:rPr lang="en-US" sz="700" b="1">
                  <a:solidFill>
                    <a:schemeClr val="tx1"/>
                  </a:solidFill>
                </a:rPr>
                <a:t>9 M</a:t>
              </a:r>
              <a:endParaRPr lang="en-BE" sz="700" b="1">
                <a:solidFill>
                  <a:schemeClr val="tx1"/>
                </a:solidFill>
              </a:endParaRPr>
            </a:p>
          </p:txBody>
        </p:sp>
      </p:grpSp>
      <p:grpSp>
        <p:nvGrpSpPr>
          <p:cNvPr id="33" name="Group 32">
            <a:extLst>
              <a:ext uri="{FF2B5EF4-FFF2-40B4-BE49-F238E27FC236}">
                <a16:creationId xmlns:a16="http://schemas.microsoft.com/office/drawing/2014/main" id="{85C4A845-040C-40A9-9BB2-C23577D36122}"/>
              </a:ext>
            </a:extLst>
          </p:cNvPr>
          <p:cNvGrpSpPr/>
          <p:nvPr>
            <p:custDataLst>
              <p:tags r:id="rId9"/>
            </p:custDataLst>
          </p:nvPr>
        </p:nvGrpSpPr>
        <p:grpSpPr>
          <a:xfrm>
            <a:off x="6339554" y="3989070"/>
            <a:ext cx="482921" cy="624151"/>
            <a:chOff x="6339554" y="3989070"/>
            <a:chExt cx="482921" cy="624151"/>
          </a:xfrm>
        </p:grpSpPr>
        <p:grpSp>
          <p:nvGrpSpPr>
            <p:cNvPr id="29" name="Group 28">
              <a:extLst>
                <a:ext uri="{FF2B5EF4-FFF2-40B4-BE49-F238E27FC236}">
                  <a16:creationId xmlns:a16="http://schemas.microsoft.com/office/drawing/2014/main" id="{D4A8EA1A-110E-41DF-A80D-B0102DBFCF48}"/>
                </a:ext>
              </a:extLst>
            </p:cNvPr>
            <p:cNvGrpSpPr/>
            <p:nvPr/>
          </p:nvGrpSpPr>
          <p:grpSpPr>
            <a:xfrm>
              <a:off x="6423247" y="3989070"/>
              <a:ext cx="209550" cy="419254"/>
              <a:chOff x="6423247" y="3989070"/>
              <a:chExt cx="209550" cy="419254"/>
            </a:xfrm>
          </p:grpSpPr>
          <p:sp>
            <p:nvSpPr>
              <p:cNvPr id="10" name="Rectangle 9">
                <a:extLst>
                  <a:ext uri="{FF2B5EF4-FFF2-40B4-BE49-F238E27FC236}">
                    <a16:creationId xmlns:a16="http://schemas.microsoft.com/office/drawing/2014/main" id="{3C6949AB-D68E-4B0D-8147-DC92601C57A9}"/>
                  </a:ext>
                </a:extLst>
              </p:cNvPr>
              <p:cNvSpPr/>
              <p:nvPr/>
            </p:nvSpPr>
            <p:spPr>
              <a:xfrm>
                <a:off x="6423247" y="3989070"/>
                <a:ext cx="209550" cy="1721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3" name="Picture 12" descr="Logo&#10;&#10;Description automatically generated">
                <a:extLst>
                  <a:ext uri="{FF2B5EF4-FFF2-40B4-BE49-F238E27FC236}">
                    <a16:creationId xmlns:a16="http://schemas.microsoft.com/office/drawing/2014/main" id="{1E22B074-0168-4F7A-BFC5-4EB64C1E145C}"/>
                  </a:ext>
                </a:extLst>
              </p:cNvPr>
              <p:cNvPicPr>
                <a:picLocks noChangeAspect="1"/>
              </p:cNvPicPr>
              <p:nvPr/>
            </p:nvPicPr>
            <p:blipFill>
              <a:blip r:embed="rId19"/>
              <a:stretch>
                <a:fillRect/>
              </a:stretch>
            </p:blipFill>
            <p:spPr>
              <a:xfrm>
                <a:off x="6432953" y="4232209"/>
                <a:ext cx="176115" cy="176115"/>
              </a:xfrm>
              <a:prstGeom prst="rect">
                <a:avLst/>
              </a:prstGeom>
            </p:spPr>
          </p:pic>
        </p:grpSp>
        <p:sp>
          <p:nvSpPr>
            <p:cNvPr id="24" name="TextBox 23">
              <a:extLst>
                <a:ext uri="{FF2B5EF4-FFF2-40B4-BE49-F238E27FC236}">
                  <a16:creationId xmlns:a16="http://schemas.microsoft.com/office/drawing/2014/main" id="{6F364925-3230-4368-A72D-B1F9E2F3C9CA}"/>
                </a:ext>
              </a:extLst>
            </p:cNvPr>
            <p:cNvSpPr txBox="1"/>
            <p:nvPr/>
          </p:nvSpPr>
          <p:spPr>
            <a:xfrm>
              <a:off x="6339554" y="4413166"/>
              <a:ext cx="482921" cy="200055"/>
            </a:xfrm>
            <a:prstGeom prst="rect">
              <a:avLst/>
            </a:prstGeom>
            <a:noFill/>
          </p:spPr>
          <p:txBody>
            <a:bodyPr wrap="square" rtlCol="0">
              <a:spAutoFit/>
            </a:bodyPr>
            <a:lstStyle/>
            <a:p>
              <a:r>
                <a:rPr lang="en-US" sz="700" b="1">
                  <a:solidFill>
                    <a:schemeClr val="tx1"/>
                  </a:solidFill>
                </a:rPr>
                <a:t>3.29  M</a:t>
              </a:r>
              <a:endParaRPr lang="en-BE" sz="700" b="1">
                <a:solidFill>
                  <a:schemeClr val="tx1"/>
                </a:solidFill>
              </a:endParaRPr>
            </a:p>
          </p:txBody>
        </p:sp>
      </p:grpSp>
      <p:grpSp>
        <p:nvGrpSpPr>
          <p:cNvPr id="32" name="Group 31">
            <a:extLst>
              <a:ext uri="{FF2B5EF4-FFF2-40B4-BE49-F238E27FC236}">
                <a16:creationId xmlns:a16="http://schemas.microsoft.com/office/drawing/2014/main" id="{8E9C8F95-1AFE-4606-B931-99524515E1D2}"/>
              </a:ext>
            </a:extLst>
          </p:cNvPr>
          <p:cNvGrpSpPr/>
          <p:nvPr>
            <p:custDataLst>
              <p:tags r:id="rId10"/>
            </p:custDataLst>
          </p:nvPr>
        </p:nvGrpSpPr>
        <p:grpSpPr>
          <a:xfrm>
            <a:off x="6905120" y="4123002"/>
            <a:ext cx="482921" cy="492325"/>
            <a:chOff x="6905120" y="4123002"/>
            <a:chExt cx="482921" cy="492325"/>
          </a:xfrm>
        </p:grpSpPr>
        <p:grpSp>
          <p:nvGrpSpPr>
            <p:cNvPr id="30" name="Group 29">
              <a:extLst>
                <a:ext uri="{FF2B5EF4-FFF2-40B4-BE49-F238E27FC236}">
                  <a16:creationId xmlns:a16="http://schemas.microsoft.com/office/drawing/2014/main" id="{20ECE159-DB9B-4218-BAD8-7ED70D22E745}"/>
                </a:ext>
              </a:extLst>
            </p:cNvPr>
            <p:cNvGrpSpPr/>
            <p:nvPr/>
          </p:nvGrpSpPr>
          <p:grpSpPr>
            <a:xfrm>
              <a:off x="6970840" y="4123002"/>
              <a:ext cx="209550" cy="281529"/>
              <a:chOff x="6970840" y="4123002"/>
              <a:chExt cx="209550" cy="281529"/>
            </a:xfrm>
          </p:grpSpPr>
          <p:pic>
            <p:nvPicPr>
              <p:cNvPr id="15" name="Picture 14" descr="Background pattern&#10;&#10;Description automatically generated with medium confidence">
                <a:extLst>
                  <a:ext uri="{FF2B5EF4-FFF2-40B4-BE49-F238E27FC236}">
                    <a16:creationId xmlns:a16="http://schemas.microsoft.com/office/drawing/2014/main" id="{8849C610-E594-4014-8871-53159B7CFD40}"/>
                  </a:ext>
                </a:extLst>
              </p:cNvPr>
              <p:cNvPicPr>
                <a:picLocks noChangeAspect="1"/>
              </p:cNvPicPr>
              <p:nvPr/>
            </p:nvPicPr>
            <p:blipFill>
              <a:blip r:embed="rId20"/>
              <a:stretch>
                <a:fillRect/>
              </a:stretch>
            </p:blipFill>
            <p:spPr>
              <a:xfrm>
                <a:off x="6978749" y="4247652"/>
                <a:ext cx="181015" cy="156879"/>
              </a:xfrm>
              <a:prstGeom prst="rect">
                <a:avLst/>
              </a:prstGeom>
            </p:spPr>
          </p:pic>
          <p:sp>
            <p:nvSpPr>
              <p:cNvPr id="19" name="Rectangle 18">
                <a:extLst>
                  <a:ext uri="{FF2B5EF4-FFF2-40B4-BE49-F238E27FC236}">
                    <a16:creationId xmlns:a16="http://schemas.microsoft.com/office/drawing/2014/main" id="{523C9C5E-C847-47AE-84DC-DD64526EFFAD}"/>
                  </a:ext>
                </a:extLst>
              </p:cNvPr>
              <p:cNvSpPr/>
              <p:nvPr/>
            </p:nvSpPr>
            <p:spPr>
              <a:xfrm>
                <a:off x="6970840" y="4123002"/>
                <a:ext cx="209550" cy="46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BE"/>
              </a:p>
            </p:txBody>
          </p:sp>
        </p:grpSp>
        <p:sp>
          <p:nvSpPr>
            <p:cNvPr id="25" name="TextBox 24">
              <a:extLst>
                <a:ext uri="{FF2B5EF4-FFF2-40B4-BE49-F238E27FC236}">
                  <a16:creationId xmlns:a16="http://schemas.microsoft.com/office/drawing/2014/main" id="{7E99EFE0-97A5-46AD-8ACC-11702E37D4F4}"/>
                </a:ext>
              </a:extLst>
            </p:cNvPr>
            <p:cNvSpPr txBox="1"/>
            <p:nvPr/>
          </p:nvSpPr>
          <p:spPr>
            <a:xfrm>
              <a:off x="6905120" y="4415272"/>
              <a:ext cx="482921" cy="200055"/>
            </a:xfrm>
            <a:prstGeom prst="rect">
              <a:avLst/>
            </a:prstGeom>
            <a:noFill/>
          </p:spPr>
          <p:txBody>
            <a:bodyPr wrap="square" rtlCol="0">
              <a:spAutoFit/>
            </a:bodyPr>
            <a:lstStyle/>
            <a:p>
              <a:r>
                <a:rPr lang="en-US" sz="700" b="1">
                  <a:solidFill>
                    <a:schemeClr val="tx1"/>
                  </a:solidFill>
                </a:rPr>
                <a:t>1 M</a:t>
              </a:r>
              <a:endParaRPr lang="en-BE" sz="700" b="1">
                <a:solidFill>
                  <a:schemeClr val="tx1"/>
                </a:solidFill>
              </a:endParaRPr>
            </a:p>
          </p:txBody>
        </p:sp>
      </p:grpSp>
      <p:grpSp>
        <p:nvGrpSpPr>
          <p:cNvPr id="31" name="Group 30">
            <a:extLst>
              <a:ext uri="{FF2B5EF4-FFF2-40B4-BE49-F238E27FC236}">
                <a16:creationId xmlns:a16="http://schemas.microsoft.com/office/drawing/2014/main" id="{A21468A7-6BF1-4484-B8D7-A1E477B4A15D}"/>
              </a:ext>
            </a:extLst>
          </p:cNvPr>
          <p:cNvGrpSpPr/>
          <p:nvPr>
            <p:custDataLst>
              <p:tags r:id="rId11"/>
            </p:custDataLst>
          </p:nvPr>
        </p:nvGrpSpPr>
        <p:grpSpPr>
          <a:xfrm>
            <a:off x="7413763" y="4262515"/>
            <a:ext cx="482921" cy="342071"/>
            <a:chOff x="7413763" y="4262515"/>
            <a:chExt cx="482921" cy="342071"/>
          </a:xfrm>
        </p:grpSpPr>
        <p:pic>
          <p:nvPicPr>
            <p:cNvPr id="16" name="Picture 15" descr="Shape, rectangle&#10;&#10;Description automatically generated">
              <a:extLst>
                <a:ext uri="{FF2B5EF4-FFF2-40B4-BE49-F238E27FC236}">
                  <a16:creationId xmlns:a16="http://schemas.microsoft.com/office/drawing/2014/main" id="{153A5219-F34C-4A1E-A21D-44834618ED4D}"/>
                </a:ext>
              </a:extLst>
            </p:cNvPr>
            <p:cNvPicPr>
              <a:picLocks noChangeAspect="1"/>
            </p:cNvPicPr>
            <p:nvPr/>
          </p:nvPicPr>
          <p:blipFill>
            <a:blip r:embed="rId21"/>
            <a:stretch>
              <a:fillRect/>
            </a:stretch>
          </p:blipFill>
          <p:spPr>
            <a:xfrm>
              <a:off x="7485025" y="4262515"/>
              <a:ext cx="236895" cy="142137"/>
            </a:xfrm>
            <a:prstGeom prst="rect">
              <a:avLst/>
            </a:prstGeom>
          </p:spPr>
        </p:pic>
        <p:sp>
          <p:nvSpPr>
            <p:cNvPr id="26" name="TextBox 25">
              <a:extLst>
                <a:ext uri="{FF2B5EF4-FFF2-40B4-BE49-F238E27FC236}">
                  <a16:creationId xmlns:a16="http://schemas.microsoft.com/office/drawing/2014/main" id="{2426C195-1EB7-41A0-AC17-88A421B6AC26}"/>
                </a:ext>
              </a:extLst>
            </p:cNvPr>
            <p:cNvSpPr txBox="1"/>
            <p:nvPr/>
          </p:nvSpPr>
          <p:spPr>
            <a:xfrm>
              <a:off x="7413763" y="4404531"/>
              <a:ext cx="482921" cy="200055"/>
            </a:xfrm>
            <a:prstGeom prst="rect">
              <a:avLst/>
            </a:prstGeom>
            <a:noFill/>
          </p:spPr>
          <p:txBody>
            <a:bodyPr wrap="square" rtlCol="0">
              <a:spAutoFit/>
            </a:bodyPr>
            <a:lstStyle/>
            <a:p>
              <a:r>
                <a:rPr lang="en-US" sz="700" b="1">
                  <a:solidFill>
                    <a:schemeClr val="tx1"/>
                  </a:solidFill>
                </a:rPr>
                <a:t>None</a:t>
              </a:r>
              <a:endParaRPr lang="en-BE" sz="700" b="1">
                <a:solidFill>
                  <a:schemeClr val="tx1"/>
                </a:solidFill>
              </a:endParaRPr>
            </a:p>
          </p:txBody>
        </p:sp>
      </p:grpSp>
    </p:spTree>
    <p:extLst>
      <p:ext uri="{BB962C8B-B14F-4D97-AF65-F5344CB8AC3E}">
        <p14:creationId xmlns:p14="http://schemas.microsoft.com/office/powerpoint/2010/main" val="3646406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4" name="Shape 114"/>
          <p:cNvSpPr txBox="1">
            <a:spLocks noGrp="1"/>
          </p:cNvSpPr>
          <p:nvPr>
            <p:ph type="body" idx="2"/>
            <p:custDataLst>
              <p:tags r:id="rId1"/>
            </p:custDataLst>
          </p:nvPr>
        </p:nvSpPr>
        <p:spPr>
          <a:xfrm>
            <a:off x="3826383" y="1550579"/>
            <a:ext cx="4919747" cy="1311284"/>
          </a:xfrm>
          <a:prstGeom prst="rect">
            <a:avLst/>
          </a:prstGeom>
        </p:spPr>
        <p:txBody>
          <a:bodyPr wrap="square" lIns="91425" tIns="91425" rIns="91425" bIns="91425" anchor="t" anchorCtr="0">
            <a:noAutofit/>
          </a:bodyPr>
          <a:lstStyle/>
          <a:p>
            <a:pPr marL="57150" indent="0">
              <a:lnSpc>
                <a:spcPct val="107000"/>
              </a:lnSpc>
              <a:spcBef>
                <a:spcPts val="200"/>
              </a:spcBef>
              <a:buNone/>
            </a:pPr>
            <a:r>
              <a:rPr lang="en-US" sz="2000">
                <a:solidFill>
                  <a:srgbClr val="7030A0"/>
                </a:solidFill>
                <a:latin typeface="Helvetica" pitchFamily="2" charset="0"/>
                <a:cs typeface="Arial"/>
                <a:sym typeface="Arial"/>
              </a:rPr>
              <a:t>What data is stored ?</a:t>
            </a:r>
            <a:endParaRPr lang="en-BE" sz="2000">
              <a:solidFill>
                <a:srgbClr val="7030A0"/>
              </a:solidFill>
              <a:latin typeface="Helvetica" pitchFamily="2" charset="0"/>
              <a:cs typeface="Arial"/>
              <a:sym typeface="Arial"/>
            </a:endParaRPr>
          </a:p>
          <a:p>
            <a:pPr marL="342900" lvl="0" indent="-342900">
              <a:lnSpc>
                <a:spcPct val="107000"/>
              </a:lnSpc>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Encrypted data? Binaries ? Text ? </a:t>
            </a:r>
            <a:endParaRPr lang="en-BE"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Personal information ? How sensitive ?  </a:t>
            </a:r>
            <a:endParaRPr lang="en-BE" sz="1800">
              <a:effectLst/>
              <a:latin typeface="Calibri" panose="020F0502020204030204" pitchFamily="34" charset="0"/>
              <a:ea typeface="Calibri" panose="020F0502020204030204" pitchFamily="34" charset="0"/>
              <a:cs typeface="Arial" panose="020B0604020202020204" pitchFamily="34" charset="0"/>
            </a:endParaRPr>
          </a:p>
          <a:p>
            <a:pPr marL="57150" indent="0">
              <a:lnSpc>
                <a:spcPct val="107000"/>
              </a:lnSpc>
              <a:spcBef>
                <a:spcPts val="200"/>
              </a:spcBef>
              <a:buNone/>
            </a:pPr>
            <a:r>
              <a:rPr lang="en-US" sz="2000">
                <a:solidFill>
                  <a:srgbClr val="7030A0"/>
                </a:solidFill>
                <a:latin typeface="Helvetica" pitchFamily="2" charset="0"/>
                <a:cs typeface="Arial"/>
              </a:rPr>
              <a:t>Is it the same in …</a:t>
            </a:r>
            <a:endParaRPr lang="en-BE" sz="2000">
              <a:solidFill>
                <a:srgbClr val="7030A0"/>
              </a:solidFill>
              <a:latin typeface="Helvetica" pitchFamily="2" charset="0"/>
              <a:cs typeface="Arial"/>
            </a:endParaRPr>
          </a:p>
          <a:p>
            <a:pPr marL="342900" lvl="0" indent="-342900">
              <a:lnSpc>
                <a:spcPct val="107000"/>
              </a:lnSpc>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In all countries of EU?</a:t>
            </a:r>
            <a:endParaRPr lang="en-BE"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Calibri" panose="020F0502020204030204" pitchFamily="34" charset="0"/>
              <a:buChar char="-"/>
            </a:pPr>
            <a:r>
              <a:rPr lang="en-US" sz="1800">
                <a:effectLst/>
                <a:latin typeface="Calibri" panose="020F0502020204030204" pitchFamily="34" charset="0"/>
                <a:ea typeface="Calibri" panose="020F0502020204030204" pitchFamily="34" charset="0"/>
                <a:cs typeface="Arial" panose="020B0604020202020204" pitchFamily="34" charset="0"/>
              </a:rPr>
              <a:t>In the world ?</a:t>
            </a:r>
            <a:endParaRPr lang="en-BE" sz="1800">
              <a:effectLst/>
              <a:latin typeface="Calibri" panose="020F0502020204030204" pitchFamily="34" charset="0"/>
              <a:ea typeface="Calibri" panose="020F0502020204030204" pitchFamily="34" charset="0"/>
              <a:cs typeface="Arial" panose="020B0604020202020204" pitchFamily="34" charset="0"/>
            </a:endParaRPr>
          </a:p>
          <a:p>
            <a:pPr marL="57150" indent="0">
              <a:lnSpc>
                <a:spcPct val="107000"/>
              </a:lnSpc>
              <a:spcBef>
                <a:spcPts val="200"/>
              </a:spcBef>
              <a:buNone/>
            </a:pPr>
            <a:r>
              <a:rPr lang="en-US" sz="2000">
                <a:solidFill>
                  <a:srgbClr val="7030A0"/>
                </a:solidFill>
                <a:latin typeface="Helvetica" pitchFamily="2" charset="0"/>
                <a:cs typeface="Arial"/>
              </a:rPr>
              <a:t>Can you steal someone’s QR code ?  What can you do with it?</a:t>
            </a:r>
            <a:endParaRPr lang="en-BE" sz="2000">
              <a:solidFill>
                <a:srgbClr val="7030A0"/>
              </a:solidFill>
              <a:latin typeface="Helvetica" pitchFamily="2" charset="0"/>
              <a:cs typeface="Arial"/>
            </a:endParaRPr>
          </a:p>
          <a:p>
            <a:pPr marL="57150" indent="0">
              <a:lnSpc>
                <a:spcPct val="107000"/>
              </a:lnSpc>
              <a:spcBef>
                <a:spcPts val="200"/>
              </a:spcBef>
              <a:buNone/>
            </a:pPr>
            <a:r>
              <a:rPr lang="en-US" sz="2000">
                <a:solidFill>
                  <a:srgbClr val="7030A0"/>
                </a:solidFill>
                <a:latin typeface="Helvetica" pitchFamily="2" charset="0"/>
                <a:cs typeface="Arial"/>
              </a:rPr>
              <a:t>Crafting/Editing QR Code?</a:t>
            </a:r>
            <a:endParaRPr lang="en-BE" sz="2000">
              <a:solidFill>
                <a:srgbClr val="7030A0"/>
              </a:solidFill>
              <a:latin typeface="Helvetica" pitchFamily="2" charset="0"/>
              <a:cs typeface="Arial"/>
            </a:endParaRPr>
          </a:p>
        </p:txBody>
      </p:sp>
      <p:sp>
        <p:nvSpPr>
          <p:cNvPr id="6" name="TextBox 70">
            <a:extLst>
              <a:ext uri="{FF2B5EF4-FFF2-40B4-BE49-F238E27FC236}">
                <a16:creationId xmlns:a16="http://schemas.microsoft.com/office/drawing/2014/main" id="{5E20247E-8AE2-9546-88DF-24BBEFC7E0A2}"/>
              </a:ext>
            </a:extLst>
          </p:cNvPr>
          <p:cNvSpPr txBox="1"/>
          <p:nvPr>
            <p:custDataLst>
              <p:tags r:id="rId2"/>
            </p:custDataLst>
          </p:nvPr>
        </p:nvSpPr>
        <p:spPr>
          <a:xfrm>
            <a:off x="209073" y="424362"/>
            <a:ext cx="4149913" cy="1323439"/>
          </a:xfrm>
          <a:prstGeom prst="rect">
            <a:avLst/>
          </a:prstGeom>
          <a:noFill/>
        </p:spPr>
        <p:txBody>
          <a:bodyPr wrap="square" rtlCol="0">
            <a:spAutoFit/>
          </a:bodyPr>
          <a:lstStyle/>
          <a:p>
            <a:r>
              <a:rPr lang="en-US" sz="2400">
                <a:solidFill>
                  <a:srgbClr val="7030A0"/>
                </a:solidFill>
                <a:latin typeface="Helvetica" pitchFamily="2" charset="0"/>
              </a:rPr>
              <a:t>2</a:t>
            </a:r>
            <a:r>
              <a:rPr lang="en-US" sz="2400">
                <a:solidFill>
                  <a:srgbClr val="7030A0"/>
                </a:solidFill>
                <a:latin typeface="Helvetica" pitchFamily="2" charset="0"/>
                <a:cs typeface="Arial"/>
              </a:rPr>
              <a:t>. COVID CERTIFICATES </a:t>
            </a:r>
          </a:p>
          <a:p>
            <a:r>
              <a:rPr lang="en-US" sz="2400">
                <a:solidFill>
                  <a:srgbClr val="7030A0"/>
                </a:solidFill>
                <a:latin typeface="Helvetica" pitchFamily="2" charset="0"/>
                <a:cs typeface="Arial"/>
              </a:rPr>
              <a:t>QR CODES</a:t>
            </a:r>
          </a:p>
          <a:p>
            <a:endParaRPr lang="en-US" sz="3200">
              <a:solidFill>
                <a:srgbClr val="7030A0"/>
              </a:solidFill>
              <a:latin typeface="Helvetica" pitchFamily="2" charset="0"/>
              <a:cs typeface="Arial"/>
            </a:endParaRPr>
          </a:p>
        </p:txBody>
      </p:sp>
      <p:pic>
        <p:nvPicPr>
          <p:cNvPr id="3" name="Picture 2" descr="Qr code&#10;&#10;Description automatically generated">
            <a:extLst>
              <a:ext uri="{FF2B5EF4-FFF2-40B4-BE49-F238E27FC236}">
                <a16:creationId xmlns:a16="http://schemas.microsoft.com/office/drawing/2014/main" id="{3D77C924-8ACB-4330-8CDC-607FDAA26365}"/>
              </a:ext>
            </a:extLst>
          </p:cNvPr>
          <p:cNvPicPr>
            <a:picLocks noChangeAspect="1"/>
          </p:cNvPicPr>
          <p:nvPr>
            <p:custDataLst>
              <p:tags r:id="rId3"/>
            </p:custDataLst>
          </p:nvPr>
        </p:nvPicPr>
        <p:blipFill rotWithShape="1">
          <a:blip r:embed="rId6"/>
          <a:srcRect t="1684" b="2781"/>
          <a:stretch/>
        </p:blipFill>
        <p:spPr>
          <a:xfrm>
            <a:off x="6980" y="1557559"/>
            <a:ext cx="3476116" cy="3168559"/>
          </a:xfrm>
          <a:prstGeom prst="rect">
            <a:avLst/>
          </a:prstGeom>
          <a:ln w="12700">
            <a:solidFill>
              <a:schemeClr val="accent1"/>
            </a:solidFill>
          </a:ln>
        </p:spPr>
      </p:pic>
    </p:spTree>
    <p:extLst>
      <p:ext uri="{BB962C8B-B14F-4D97-AF65-F5344CB8AC3E}">
        <p14:creationId xmlns:p14="http://schemas.microsoft.com/office/powerpoint/2010/main" val="2026788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70">
            <a:extLst>
              <a:ext uri="{FF2B5EF4-FFF2-40B4-BE49-F238E27FC236}">
                <a16:creationId xmlns:a16="http://schemas.microsoft.com/office/drawing/2014/main" id="{658C159A-EE7B-4BB2-9BF7-6617C4856E45}"/>
              </a:ext>
            </a:extLst>
          </p:cNvPr>
          <p:cNvSpPr txBox="1"/>
          <p:nvPr>
            <p:custDataLst>
              <p:tags r:id="rId1"/>
            </p:custDataLst>
          </p:nvPr>
        </p:nvSpPr>
        <p:spPr>
          <a:xfrm>
            <a:off x="209073" y="424362"/>
            <a:ext cx="4062780" cy="830997"/>
          </a:xfrm>
          <a:prstGeom prst="rect">
            <a:avLst/>
          </a:prstGeom>
          <a:noFill/>
        </p:spPr>
        <p:txBody>
          <a:bodyPr wrap="square" rtlCol="0">
            <a:spAutoFit/>
          </a:bodyPr>
          <a:lstStyle/>
          <a:p>
            <a:r>
              <a:rPr lang="en-US" sz="2400">
                <a:solidFill>
                  <a:srgbClr val="7030A0"/>
                </a:solidFill>
                <a:latin typeface="Helvetica" pitchFamily="2" charset="0"/>
                <a:cs typeface="Arial"/>
              </a:rPr>
              <a:t>When the French did it differently</a:t>
            </a:r>
          </a:p>
        </p:txBody>
      </p:sp>
      <p:pic>
        <p:nvPicPr>
          <p:cNvPr id="6" name="Picture 5">
            <a:extLst>
              <a:ext uri="{FF2B5EF4-FFF2-40B4-BE49-F238E27FC236}">
                <a16:creationId xmlns:a16="http://schemas.microsoft.com/office/drawing/2014/main" id="{02BEEC16-0005-4918-AA3C-922FBC192760}"/>
              </a:ext>
            </a:extLst>
          </p:cNvPr>
          <p:cNvPicPr>
            <a:picLocks noChangeAspect="1"/>
          </p:cNvPicPr>
          <p:nvPr>
            <p:custDataLst>
              <p:tags r:id="rId2"/>
            </p:custDataLst>
          </p:nvPr>
        </p:nvPicPr>
        <p:blipFill>
          <a:blip r:embed="rId11"/>
          <a:stretch>
            <a:fillRect/>
          </a:stretch>
        </p:blipFill>
        <p:spPr>
          <a:xfrm>
            <a:off x="429680" y="2201374"/>
            <a:ext cx="1781997" cy="1763435"/>
          </a:xfrm>
          <a:prstGeom prst="rect">
            <a:avLst/>
          </a:prstGeom>
        </p:spPr>
      </p:pic>
      <p:sp>
        <p:nvSpPr>
          <p:cNvPr id="7" name="TextBox 6">
            <a:extLst>
              <a:ext uri="{FF2B5EF4-FFF2-40B4-BE49-F238E27FC236}">
                <a16:creationId xmlns:a16="http://schemas.microsoft.com/office/drawing/2014/main" id="{2CF08FB8-317E-4C69-B878-75D6A435D8B8}"/>
              </a:ext>
            </a:extLst>
          </p:cNvPr>
          <p:cNvSpPr txBox="1"/>
          <p:nvPr>
            <p:custDataLst>
              <p:tags r:id="rId3"/>
            </p:custDataLst>
          </p:nvPr>
        </p:nvSpPr>
        <p:spPr>
          <a:xfrm>
            <a:off x="1785515" y="4769609"/>
            <a:ext cx="5642891" cy="307777"/>
          </a:xfrm>
          <a:prstGeom prst="rect">
            <a:avLst/>
          </a:prstGeom>
          <a:solidFill>
            <a:schemeClr val="bg1"/>
          </a:solidFill>
        </p:spPr>
        <p:txBody>
          <a:bodyPr wrap="none" rtlCol="0">
            <a:spAutoFit/>
          </a:bodyPr>
          <a:lstStyle/>
          <a:p>
            <a:r>
              <a:rPr lang="en-US" sz="700"/>
              <a:t>1: </a:t>
            </a:r>
            <a:r>
              <a:rPr lang="en-US" sz="700">
                <a:solidFill>
                  <a:srgbClr val="8356B2"/>
                </a:solidFill>
                <a:hlinkClick r:id="rId12">
                  <a:extLst>
                    <a:ext uri="{A12FA001-AC4F-418D-AE19-62706E023703}">
                      <ahyp:hlinkClr xmlns:ahyp="http://schemas.microsoft.com/office/drawing/2018/hyperlinkcolor" val="tx"/>
                    </a:ext>
                  </a:extLst>
                </a:hlinkClick>
              </a:rPr>
              <a:t>https://ants.gouv.fr/content/download/516/5665/version/9/file/ANTS_2D-Doc_CABSpec_v3.1.1.pdf</a:t>
            </a:r>
            <a:endParaRPr lang="en-US" sz="700">
              <a:solidFill>
                <a:srgbClr val="8356B2"/>
              </a:solidFill>
            </a:endParaRPr>
          </a:p>
          <a:p>
            <a:r>
              <a:rPr lang="en-US" sz="700"/>
              <a:t>2: </a:t>
            </a:r>
            <a:r>
              <a:rPr lang="en-US" sz="700">
                <a:solidFill>
                  <a:srgbClr val="8356B2"/>
                </a:solidFill>
                <a:hlinkClick r:id="rId13">
                  <a:extLst>
                    <a:ext uri="{A12FA001-AC4F-418D-AE19-62706E023703}">
                      <ahyp:hlinkClr xmlns:ahyp="http://schemas.microsoft.com/office/drawing/2018/hyperlinkcolor" val="tx"/>
                    </a:ext>
                  </a:extLst>
                </a:hlinkClick>
              </a:rPr>
              <a:t>https://www.numerama.com/sciences/726127-certificat-de-vaccination-europeen-tout-comprendre-au-qr-code-sur-votre-document.html</a:t>
            </a:r>
            <a:endParaRPr lang="en-US" sz="700">
              <a:solidFill>
                <a:srgbClr val="8356B2"/>
              </a:solidFill>
            </a:endParaRPr>
          </a:p>
        </p:txBody>
      </p:sp>
      <p:sp>
        <p:nvSpPr>
          <p:cNvPr id="3" name="Arrow: Right 2">
            <a:extLst>
              <a:ext uri="{FF2B5EF4-FFF2-40B4-BE49-F238E27FC236}">
                <a16:creationId xmlns:a16="http://schemas.microsoft.com/office/drawing/2014/main" id="{FFFC21E4-FEED-43F3-BACC-8B930360BAFE}"/>
              </a:ext>
            </a:extLst>
          </p:cNvPr>
          <p:cNvSpPr/>
          <p:nvPr>
            <p:custDataLst>
              <p:tags r:id="rId4"/>
            </p:custDataLst>
          </p:nvPr>
        </p:nvSpPr>
        <p:spPr>
          <a:xfrm>
            <a:off x="3945884" y="2903402"/>
            <a:ext cx="3482522" cy="3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46075AD-6CF4-4234-BBB7-4800A5B7CC2D}"/>
              </a:ext>
            </a:extLst>
          </p:cNvPr>
          <p:cNvSpPr txBox="1"/>
          <p:nvPr>
            <p:custDataLst>
              <p:tags r:id="rId5"/>
            </p:custDataLst>
          </p:nvPr>
        </p:nvSpPr>
        <p:spPr>
          <a:xfrm>
            <a:off x="2769794" y="2643152"/>
            <a:ext cx="1312742" cy="738664"/>
          </a:xfrm>
          <a:prstGeom prst="rect">
            <a:avLst/>
          </a:prstGeom>
          <a:noFill/>
        </p:spPr>
        <p:txBody>
          <a:bodyPr wrap="square" rtlCol="0">
            <a:spAutoFit/>
          </a:bodyPr>
          <a:lstStyle/>
          <a:p>
            <a:r>
              <a:rPr lang="en-US"/>
              <a:t>First COVID vaccine injection</a:t>
            </a:r>
          </a:p>
        </p:txBody>
      </p:sp>
      <p:sp>
        <p:nvSpPr>
          <p:cNvPr id="10" name="TextBox 9">
            <a:extLst>
              <a:ext uri="{FF2B5EF4-FFF2-40B4-BE49-F238E27FC236}">
                <a16:creationId xmlns:a16="http://schemas.microsoft.com/office/drawing/2014/main" id="{1DAE2A09-69F7-4FD1-A579-71610BD98F75}"/>
              </a:ext>
            </a:extLst>
          </p:cNvPr>
          <p:cNvSpPr txBox="1"/>
          <p:nvPr>
            <p:custDataLst>
              <p:tags r:id="rId6"/>
            </p:custDataLst>
          </p:nvPr>
        </p:nvSpPr>
        <p:spPr>
          <a:xfrm>
            <a:off x="7614488" y="2914547"/>
            <a:ext cx="1266496" cy="307777"/>
          </a:xfrm>
          <a:prstGeom prst="rect">
            <a:avLst/>
          </a:prstGeom>
          <a:noFill/>
        </p:spPr>
        <p:txBody>
          <a:bodyPr wrap="square" rtlCol="0">
            <a:spAutoFit/>
          </a:bodyPr>
          <a:lstStyle/>
          <a:p>
            <a:r>
              <a:rPr lang="en-US"/>
              <a:t>June 23 2021</a:t>
            </a:r>
          </a:p>
        </p:txBody>
      </p:sp>
      <p:sp>
        <p:nvSpPr>
          <p:cNvPr id="11" name="TextBox 10">
            <a:extLst>
              <a:ext uri="{FF2B5EF4-FFF2-40B4-BE49-F238E27FC236}">
                <a16:creationId xmlns:a16="http://schemas.microsoft.com/office/drawing/2014/main" id="{44C8D9EA-84BD-4991-B50D-61D9F663952D}"/>
              </a:ext>
            </a:extLst>
          </p:cNvPr>
          <p:cNvSpPr txBox="1"/>
          <p:nvPr>
            <p:custDataLst>
              <p:tags r:id="rId7"/>
            </p:custDataLst>
          </p:nvPr>
        </p:nvSpPr>
        <p:spPr>
          <a:xfrm>
            <a:off x="4949639" y="2452882"/>
            <a:ext cx="1714539" cy="461665"/>
          </a:xfrm>
          <a:prstGeom prst="rect">
            <a:avLst/>
          </a:prstGeom>
          <a:noFill/>
        </p:spPr>
        <p:txBody>
          <a:bodyPr wrap="square" rtlCol="0">
            <a:spAutoFit/>
          </a:bodyPr>
          <a:lstStyle/>
          <a:p>
            <a:r>
              <a:rPr lang="en-US" sz="2400" b="1"/>
              <a:t>2D-DOC</a:t>
            </a:r>
          </a:p>
        </p:txBody>
      </p:sp>
      <p:sp>
        <p:nvSpPr>
          <p:cNvPr id="13" name="TextBox 12">
            <a:extLst>
              <a:ext uri="{FF2B5EF4-FFF2-40B4-BE49-F238E27FC236}">
                <a16:creationId xmlns:a16="http://schemas.microsoft.com/office/drawing/2014/main" id="{E13316B6-FAC6-4AB5-AEBB-8A00CB433CCE}"/>
              </a:ext>
            </a:extLst>
          </p:cNvPr>
          <p:cNvSpPr txBox="1"/>
          <p:nvPr>
            <p:custDataLst>
              <p:tags r:id="rId8"/>
            </p:custDataLst>
          </p:nvPr>
        </p:nvSpPr>
        <p:spPr>
          <a:xfrm>
            <a:off x="1153352" y="4096412"/>
            <a:ext cx="1657884" cy="246221"/>
          </a:xfrm>
          <a:prstGeom prst="rect">
            <a:avLst/>
          </a:prstGeom>
          <a:noFill/>
        </p:spPr>
        <p:txBody>
          <a:bodyPr wrap="square" rtlCol="0">
            <a:spAutoFit/>
          </a:bodyPr>
          <a:lstStyle/>
          <a:p>
            <a:pPr algn="ctr"/>
            <a:r>
              <a:rPr lang="en-US" sz="1000" i="1">
                <a:solidFill>
                  <a:schemeClr val="bg1">
                    <a:lumMod val="65000"/>
                  </a:schemeClr>
                </a:solidFill>
              </a:rPr>
              <a:t>2D-Doc</a:t>
            </a:r>
            <a:endParaRPr lang="en-BE" sz="1000" i="1">
              <a:solidFill>
                <a:schemeClr val="bg1">
                  <a:lumMod val="65000"/>
                </a:schemeClr>
              </a:solidFill>
            </a:endParaRPr>
          </a:p>
        </p:txBody>
      </p:sp>
    </p:spTree>
    <p:extLst>
      <p:ext uri="{BB962C8B-B14F-4D97-AF65-F5344CB8AC3E}">
        <p14:creationId xmlns:p14="http://schemas.microsoft.com/office/powerpoint/2010/main" val="21511713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70">
            <a:extLst>
              <a:ext uri="{FF2B5EF4-FFF2-40B4-BE49-F238E27FC236}">
                <a16:creationId xmlns:a16="http://schemas.microsoft.com/office/drawing/2014/main" id="{B8A604F6-D1F6-442F-8E82-59761BEE9B1B}"/>
              </a:ext>
            </a:extLst>
          </p:cNvPr>
          <p:cNvSpPr txBox="1"/>
          <p:nvPr>
            <p:custDataLst>
              <p:tags r:id="rId1"/>
            </p:custDataLst>
          </p:nvPr>
        </p:nvSpPr>
        <p:spPr>
          <a:xfrm>
            <a:off x="209073" y="424362"/>
            <a:ext cx="4062780" cy="461665"/>
          </a:xfrm>
          <a:prstGeom prst="rect">
            <a:avLst/>
          </a:prstGeom>
          <a:noFill/>
        </p:spPr>
        <p:txBody>
          <a:bodyPr wrap="square" rtlCol="0">
            <a:spAutoFit/>
          </a:bodyPr>
          <a:lstStyle/>
          <a:p>
            <a:r>
              <a:rPr lang="en-US" sz="2400">
                <a:solidFill>
                  <a:srgbClr val="7030A0"/>
                </a:solidFill>
                <a:latin typeface="Helvetica" pitchFamily="2" charset="0"/>
                <a:cs typeface="Arial"/>
              </a:rPr>
              <a:t>But what does it contain?</a:t>
            </a:r>
          </a:p>
        </p:txBody>
      </p:sp>
      <p:pic>
        <p:nvPicPr>
          <p:cNvPr id="13" name="Picture 12">
            <a:extLst>
              <a:ext uri="{FF2B5EF4-FFF2-40B4-BE49-F238E27FC236}">
                <a16:creationId xmlns:a16="http://schemas.microsoft.com/office/drawing/2014/main" id="{54776DE7-2DAB-48CE-91DF-21713D508CFE}"/>
              </a:ext>
            </a:extLst>
          </p:cNvPr>
          <p:cNvPicPr>
            <a:picLocks noChangeAspect="1"/>
          </p:cNvPicPr>
          <p:nvPr>
            <p:custDataLst>
              <p:tags r:id="rId2"/>
            </p:custDataLst>
          </p:nvPr>
        </p:nvPicPr>
        <p:blipFill>
          <a:blip r:embed="rId8"/>
          <a:stretch>
            <a:fillRect/>
          </a:stretch>
        </p:blipFill>
        <p:spPr>
          <a:xfrm>
            <a:off x="630620" y="2095394"/>
            <a:ext cx="2054710" cy="2033307"/>
          </a:xfrm>
          <a:prstGeom prst="rect">
            <a:avLst/>
          </a:prstGeom>
        </p:spPr>
      </p:pic>
      <p:pic>
        <p:nvPicPr>
          <p:cNvPr id="14" name="Picture 13">
            <a:extLst>
              <a:ext uri="{FF2B5EF4-FFF2-40B4-BE49-F238E27FC236}">
                <a16:creationId xmlns:a16="http://schemas.microsoft.com/office/drawing/2014/main" id="{AD19025F-3E1C-41A8-967B-3BD1F9E97132}"/>
              </a:ext>
            </a:extLst>
          </p:cNvPr>
          <p:cNvPicPr>
            <a:picLocks noChangeAspect="1"/>
          </p:cNvPicPr>
          <p:nvPr>
            <p:custDataLst>
              <p:tags r:id="rId3"/>
            </p:custDataLst>
          </p:nvPr>
        </p:nvPicPr>
        <p:blipFill rotWithShape="1">
          <a:blip r:embed="rId9"/>
          <a:srcRect t="-1" b="64651"/>
          <a:stretch/>
        </p:blipFill>
        <p:spPr>
          <a:xfrm>
            <a:off x="3572088" y="2025965"/>
            <a:ext cx="5102941" cy="2172167"/>
          </a:xfrm>
          <a:prstGeom prst="rect">
            <a:avLst/>
          </a:prstGeom>
        </p:spPr>
      </p:pic>
      <p:sp>
        <p:nvSpPr>
          <p:cNvPr id="15" name="TextBox 14">
            <a:extLst>
              <a:ext uri="{FF2B5EF4-FFF2-40B4-BE49-F238E27FC236}">
                <a16:creationId xmlns:a16="http://schemas.microsoft.com/office/drawing/2014/main" id="{BAD1E4A2-3D41-4B3F-869A-09EDD6598996}"/>
              </a:ext>
            </a:extLst>
          </p:cNvPr>
          <p:cNvSpPr txBox="1"/>
          <p:nvPr>
            <p:custDataLst>
              <p:tags r:id="rId4"/>
            </p:custDataLst>
          </p:nvPr>
        </p:nvSpPr>
        <p:spPr>
          <a:xfrm>
            <a:off x="1153352" y="4096412"/>
            <a:ext cx="1657884" cy="246221"/>
          </a:xfrm>
          <a:prstGeom prst="rect">
            <a:avLst/>
          </a:prstGeom>
          <a:noFill/>
        </p:spPr>
        <p:txBody>
          <a:bodyPr wrap="square" rtlCol="0">
            <a:spAutoFit/>
          </a:bodyPr>
          <a:lstStyle/>
          <a:p>
            <a:pPr algn="ctr"/>
            <a:r>
              <a:rPr lang="en-US" sz="1000" i="1">
                <a:solidFill>
                  <a:schemeClr val="bg1">
                    <a:lumMod val="65000"/>
                  </a:schemeClr>
                </a:solidFill>
              </a:rPr>
              <a:t>2D-Doc</a:t>
            </a:r>
            <a:endParaRPr lang="en-BE" sz="1000" i="1">
              <a:solidFill>
                <a:schemeClr val="bg1">
                  <a:lumMod val="65000"/>
                </a:schemeClr>
              </a:solidFill>
            </a:endParaRPr>
          </a:p>
        </p:txBody>
      </p:sp>
      <p:pic>
        <p:nvPicPr>
          <p:cNvPr id="3" name="Picture 2" descr="Text&#10;&#10;Description automatically generated">
            <a:extLst>
              <a:ext uri="{FF2B5EF4-FFF2-40B4-BE49-F238E27FC236}">
                <a16:creationId xmlns:a16="http://schemas.microsoft.com/office/drawing/2014/main" id="{0EB6A34E-CC77-4D0E-86A5-23E85FF50ACD}"/>
              </a:ext>
            </a:extLst>
          </p:cNvPr>
          <p:cNvPicPr>
            <a:picLocks noChangeAspect="1"/>
          </p:cNvPicPr>
          <p:nvPr>
            <p:custDataLst>
              <p:tags r:id="rId5"/>
            </p:custDataLst>
          </p:nvPr>
        </p:nvPicPr>
        <p:blipFill rotWithShape="1">
          <a:blip r:embed="rId10"/>
          <a:srcRect b="64649"/>
          <a:stretch/>
        </p:blipFill>
        <p:spPr>
          <a:xfrm>
            <a:off x="3572088" y="2025965"/>
            <a:ext cx="5102941" cy="2172167"/>
          </a:xfrm>
          <a:prstGeom prst="rect">
            <a:avLst/>
          </a:prstGeom>
        </p:spPr>
      </p:pic>
    </p:spTree>
    <p:extLst>
      <p:ext uri="{BB962C8B-B14F-4D97-AF65-F5344CB8AC3E}">
        <p14:creationId xmlns:p14="http://schemas.microsoft.com/office/powerpoint/2010/main" val="4186316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70">
            <a:extLst>
              <a:ext uri="{FF2B5EF4-FFF2-40B4-BE49-F238E27FC236}">
                <a16:creationId xmlns:a16="http://schemas.microsoft.com/office/drawing/2014/main" id="{B8A604F6-D1F6-442F-8E82-59761BEE9B1B}"/>
              </a:ext>
            </a:extLst>
          </p:cNvPr>
          <p:cNvSpPr txBox="1"/>
          <p:nvPr>
            <p:custDataLst>
              <p:tags r:id="rId1"/>
            </p:custDataLst>
          </p:nvPr>
        </p:nvSpPr>
        <p:spPr>
          <a:xfrm>
            <a:off x="209073" y="424362"/>
            <a:ext cx="4062780" cy="461665"/>
          </a:xfrm>
          <a:prstGeom prst="rect">
            <a:avLst/>
          </a:prstGeom>
          <a:noFill/>
        </p:spPr>
        <p:txBody>
          <a:bodyPr wrap="square" rtlCol="0">
            <a:spAutoFit/>
          </a:bodyPr>
          <a:lstStyle/>
          <a:p>
            <a:r>
              <a:rPr lang="en-US" sz="2400">
                <a:solidFill>
                  <a:srgbClr val="7030A0"/>
                </a:solidFill>
                <a:latin typeface="Helvetica" pitchFamily="2" charset="0"/>
                <a:cs typeface="Arial"/>
              </a:rPr>
              <a:t>But what does it contain?</a:t>
            </a:r>
          </a:p>
        </p:txBody>
      </p:sp>
      <p:pic>
        <p:nvPicPr>
          <p:cNvPr id="7" name="Picture 6">
            <a:extLst>
              <a:ext uri="{FF2B5EF4-FFF2-40B4-BE49-F238E27FC236}">
                <a16:creationId xmlns:a16="http://schemas.microsoft.com/office/drawing/2014/main" id="{293BE0C4-B5B6-4CAF-A247-23E530D22EAE}"/>
              </a:ext>
            </a:extLst>
          </p:cNvPr>
          <p:cNvPicPr>
            <a:picLocks noChangeAspect="1"/>
          </p:cNvPicPr>
          <p:nvPr>
            <p:custDataLst>
              <p:tags r:id="rId2"/>
            </p:custDataLst>
          </p:nvPr>
        </p:nvPicPr>
        <p:blipFill>
          <a:blip r:embed="rId7"/>
          <a:stretch>
            <a:fillRect/>
          </a:stretch>
        </p:blipFill>
        <p:spPr>
          <a:xfrm>
            <a:off x="954939" y="2095394"/>
            <a:ext cx="2054710" cy="2033307"/>
          </a:xfrm>
          <a:prstGeom prst="rect">
            <a:avLst/>
          </a:prstGeom>
        </p:spPr>
      </p:pic>
      <p:graphicFrame>
        <p:nvGraphicFramePr>
          <p:cNvPr id="9" name="Table 2">
            <a:extLst>
              <a:ext uri="{FF2B5EF4-FFF2-40B4-BE49-F238E27FC236}">
                <a16:creationId xmlns:a16="http://schemas.microsoft.com/office/drawing/2014/main" id="{3317BDEE-D6A1-47B0-969E-5D8434E8F277}"/>
              </a:ext>
            </a:extLst>
          </p:cNvPr>
          <p:cNvGraphicFramePr>
            <a:graphicFrameLocks noGrp="1"/>
          </p:cNvGraphicFramePr>
          <p:nvPr>
            <p:custDataLst>
              <p:tags r:id="rId3"/>
            </p:custDataLst>
            <p:extLst>
              <p:ext uri="{D42A27DB-BD31-4B8C-83A1-F6EECF244321}">
                <p14:modId xmlns:p14="http://schemas.microsoft.com/office/powerpoint/2010/main" val="1050576200"/>
              </p:ext>
            </p:extLst>
          </p:nvPr>
        </p:nvGraphicFramePr>
        <p:xfrm>
          <a:off x="4216149" y="2127682"/>
          <a:ext cx="3972912" cy="1968730"/>
        </p:xfrm>
        <a:graphic>
          <a:graphicData uri="http://schemas.openxmlformats.org/drawingml/2006/table">
            <a:tbl>
              <a:tblPr firstRow="1" firstCol="1" bandRow="1">
                <a:tableStyleId>{21E4AEA4-8DFA-4A89-87EB-49C32662AFE0}</a:tableStyleId>
              </a:tblPr>
              <a:tblGrid>
                <a:gridCol w="1986456">
                  <a:extLst>
                    <a:ext uri="{9D8B030D-6E8A-4147-A177-3AD203B41FA5}">
                      <a16:colId xmlns:a16="http://schemas.microsoft.com/office/drawing/2014/main" val="2555557491"/>
                    </a:ext>
                  </a:extLst>
                </a:gridCol>
                <a:gridCol w="1986456">
                  <a:extLst>
                    <a:ext uri="{9D8B030D-6E8A-4147-A177-3AD203B41FA5}">
                      <a16:colId xmlns:a16="http://schemas.microsoft.com/office/drawing/2014/main" val="331159357"/>
                    </a:ext>
                  </a:extLst>
                </a:gridCol>
              </a:tblGrid>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Personal data</a:t>
                      </a:r>
                    </a:p>
                  </a:txBody>
                  <a:tcPr anchor="ctr"/>
                </a:tc>
                <a:tc>
                  <a:txBody>
                    <a:bodyPr/>
                    <a:lstStyle/>
                    <a:p>
                      <a:pPr algn="ctr"/>
                      <a:r>
                        <a:rPr lang="en-US"/>
                        <a:t>Medical data</a:t>
                      </a:r>
                      <a:endParaRPr lang="en-BE"/>
                    </a:p>
                  </a:txBody>
                  <a:tcPr anchor="ctr"/>
                </a:tc>
                <a:extLst>
                  <a:ext uri="{0D108BD9-81ED-4DB2-BD59-A6C34878D82A}">
                    <a16:rowId xmlns:a16="http://schemas.microsoft.com/office/drawing/2014/main" val="2226489969"/>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ame of the vaccin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12318967"/>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First 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umber of doses received</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925122870"/>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Date of birth</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umber of doses needed</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extLst>
                  <a:ext uri="{0D108BD9-81ED-4DB2-BD59-A6C34878D82A}">
                    <a16:rowId xmlns:a16="http://schemas.microsoft.com/office/drawing/2014/main" val="635143750"/>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Date of the last injection</a:t>
                      </a:r>
                      <a:endParaRPr lang="en-BE"/>
                    </a:p>
                  </a:txBody>
                  <a:tcPr anchor="ctr">
                    <a:solidFill>
                      <a:schemeClr val="accent2">
                        <a:lumMod val="20000"/>
                        <a:lumOff val="80000"/>
                      </a:schemeClr>
                    </a:solidFill>
                  </a:tcPr>
                </a:tc>
                <a:extLst>
                  <a:ext uri="{0D108BD9-81ED-4DB2-BD59-A6C34878D82A}">
                    <a16:rowId xmlns:a16="http://schemas.microsoft.com/office/drawing/2014/main" val="560187771"/>
                  </a:ext>
                </a:extLst>
              </a:tr>
            </a:tbl>
          </a:graphicData>
        </a:graphic>
      </p:graphicFrame>
      <p:sp>
        <p:nvSpPr>
          <p:cNvPr id="10" name="TextBox 9">
            <a:extLst>
              <a:ext uri="{FF2B5EF4-FFF2-40B4-BE49-F238E27FC236}">
                <a16:creationId xmlns:a16="http://schemas.microsoft.com/office/drawing/2014/main" id="{2634D217-B513-4A39-9774-DC46E9123B39}"/>
              </a:ext>
            </a:extLst>
          </p:cNvPr>
          <p:cNvSpPr txBox="1"/>
          <p:nvPr>
            <p:custDataLst>
              <p:tags r:id="rId4"/>
            </p:custDataLst>
          </p:nvPr>
        </p:nvSpPr>
        <p:spPr>
          <a:xfrm>
            <a:off x="1153352" y="4096412"/>
            <a:ext cx="1657884" cy="246221"/>
          </a:xfrm>
          <a:prstGeom prst="rect">
            <a:avLst/>
          </a:prstGeom>
          <a:noFill/>
        </p:spPr>
        <p:txBody>
          <a:bodyPr wrap="square" rtlCol="0">
            <a:spAutoFit/>
          </a:bodyPr>
          <a:lstStyle/>
          <a:p>
            <a:pPr algn="ctr"/>
            <a:r>
              <a:rPr lang="en-US" sz="1000" i="1">
                <a:solidFill>
                  <a:schemeClr val="bg1">
                    <a:lumMod val="65000"/>
                  </a:schemeClr>
                </a:solidFill>
              </a:rPr>
              <a:t>2D-Doc</a:t>
            </a:r>
            <a:endParaRPr lang="en-BE" sz="1000" i="1">
              <a:solidFill>
                <a:schemeClr val="bg1">
                  <a:lumMod val="65000"/>
                </a:schemeClr>
              </a:solidFill>
            </a:endParaRPr>
          </a:p>
        </p:txBody>
      </p:sp>
    </p:spTree>
    <p:extLst>
      <p:ext uri="{BB962C8B-B14F-4D97-AF65-F5344CB8AC3E}">
        <p14:creationId xmlns:p14="http://schemas.microsoft.com/office/powerpoint/2010/main" val="4035647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sp>
        <p:nvSpPr>
          <p:cNvPr id="6" name="TextBox 70">
            <a:extLst>
              <a:ext uri="{FF2B5EF4-FFF2-40B4-BE49-F238E27FC236}">
                <a16:creationId xmlns:a16="http://schemas.microsoft.com/office/drawing/2014/main" id="{EDB783B3-E08F-484D-AC4A-B9E110E5F375}"/>
              </a:ext>
            </a:extLst>
          </p:cNvPr>
          <p:cNvSpPr txBox="1"/>
          <p:nvPr>
            <p:custDataLst>
              <p:tags r:id="rId2"/>
            </p:custDataLst>
          </p:nvPr>
        </p:nvSpPr>
        <p:spPr>
          <a:xfrm>
            <a:off x="209073" y="258376"/>
            <a:ext cx="4062780" cy="830997"/>
          </a:xfrm>
          <a:prstGeom prst="rect">
            <a:avLst/>
          </a:prstGeom>
          <a:noFill/>
        </p:spPr>
        <p:txBody>
          <a:bodyPr wrap="square" rtlCol="0">
            <a:spAutoFit/>
          </a:bodyPr>
          <a:lstStyle/>
          <a:p>
            <a:r>
              <a:rPr lang="en-US" sz="2400">
                <a:solidFill>
                  <a:srgbClr val="7030A0"/>
                </a:solidFill>
                <a:latin typeface="Helvetica" pitchFamily="2" charset="0"/>
                <a:cs typeface="Arial"/>
              </a:rPr>
              <a:t>The uniformization in the European Union</a:t>
            </a:r>
          </a:p>
        </p:txBody>
      </p:sp>
      <p:pic>
        <p:nvPicPr>
          <p:cNvPr id="8" name="Picture 7">
            <a:extLst>
              <a:ext uri="{FF2B5EF4-FFF2-40B4-BE49-F238E27FC236}">
                <a16:creationId xmlns:a16="http://schemas.microsoft.com/office/drawing/2014/main" id="{EC1D87E2-C519-47A7-8865-FA02DF22315F}"/>
              </a:ext>
            </a:extLst>
          </p:cNvPr>
          <p:cNvPicPr>
            <a:picLocks noChangeAspect="1"/>
          </p:cNvPicPr>
          <p:nvPr>
            <p:custDataLst>
              <p:tags r:id="rId3"/>
            </p:custDataLst>
          </p:nvPr>
        </p:nvPicPr>
        <p:blipFill>
          <a:blip r:embed="rId12"/>
          <a:stretch>
            <a:fillRect/>
          </a:stretch>
        </p:blipFill>
        <p:spPr>
          <a:xfrm>
            <a:off x="860372" y="2092273"/>
            <a:ext cx="1908935" cy="1958589"/>
          </a:xfrm>
          <a:prstGeom prst="rect">
            <a:avLst/>
          </a:prstGeom>
        </p:spPr>
      </p:pic>
      <p:sp>
        <p:nvSpPr>
          <p:cNvPr id="10" name="TextBox 9">
            <a:extLst>
              <a:ext uri="{FF2B5EF4-FFF2-40B4-BE49-F238E27FC236}">
                <a16:creationId xmlns:a16="http://schemas.microsoft.com/office/drawing/2014/main" id="{BC5DA6FE-0597-4902-B9E1-445FE42F1D8A}"/>
              </a:ext>
            </a:extLst>
          </p:cNvPr>
          <p:cNvSpPr txBox="1"/>
          <p:nvPr>
            <p:custDataLst>
              <p:tags r:id="rId4"/>
            </p:custDataLst>
          </p:nvPr>
        </p:nvSpPr>
        <p:spPr>
          <a:xfrm>
            <a:off x="3207650" y="4830624"/>
            <a:ext cx="4278735" cy="200055"/>
          </a:xfrm>
          <a:prstGeom prst="rect">
            <a:avLst/>
          </a:prstGeom>
          <a:solidFill>
            <a:schemeClr val="bg1"/>
          </a:solidFill>
        </p:spPr>
        <p:txBody>
          <a:bodyPr wrap="none" rtlCol="0">
            <a:spAutoFit/>
          </a:bodyPr>
          <a:lstStyle/>
          <a:p>
            <a:r>
              <a:rPr lang="en-US" sz="700"/>
              <a:t>1: </a:t>
            </a:r>
            <a:r>
              <a:rPr lang="en-US" sz="700">
                <a:solidFill>
                  <a:srgbClr val="8356B2"/>
                </a:solidFill>
                <a:hlinkClick r:id="rId13">
                  <a:extLst>
                    <a:ext uri="{A12FA001-AC4F-418D-AE19-62706E023703}">
                      <ahyp:hlinkClr xmlns:ahyp="http://schemas.microsoft.com/office/drawing/2018/hyperlinkcolor" val="tx"/>
                    </a:ext>
                  </a:extLst>
                </a:hlinkClick>
              </a:rPr>
              <a:t>https://ec.europa.eu/health/sites/default/files/ehealth/docs/covid-certificate_json_specification_en.pdf</a:t>
            </a:r>
            <a:endParaRPr lang="en-US" sz="700">
              <a:solidFill>
                <a:srgbClr val="8356B2"/>
              </a:solidFill>
            </a:endParaRPr>
          </a:p>
        </p:txBody>
      </p:sp>
      <p:sp>
        <p:nvSpPr>
          <p:cNvPr id="11" name="Arrow: Right 10">
            <a:extLst>
              <a:ext uri="{FF2B5EF4-FFF2-40B4-BE49-F238E27FC236}">
                <a16:creationId xmlns:a16="http://schemas.microsoft.com/office/drawing/2014/main" id="{86201478-B48D-47AE-886E-A70F6DBEF4DB}"/>
              </a:ext>
            </a:extLst>
          </p:cNvPr>
          <p:cNvSpPr/>
          <p:nvPr>
            <p:custDataLst>
              <p:tags r:id="rId5"/>
            </p:custDataLst>
          </p:nvPr>
        </p:nvSpPr>
        <p:spPr>
          <a:xfrm>
            <a:off x="4134286" y="2913327"/>
            <a:ext cx="3978595" cy="3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F0526B2-F6B5-41BC-9525-D4BDDCE7B418}"/>
              </a:ext>
            </a:extLst>
          </p:cNvPr>
          <p:cNvSpPr txBox="1"/>
          <p:nvPr>
            <p:custDataLst>
              <p:tags r:id="rId6"/>
            </p:custDataLst>
          </p:nvPr>
        </p:nvSpPr>
        <p:spPr>
          <a:xfrm>
            <a:off x="2821545" y="2903402"/>
            <a:ext cx="1312742" cy="738664"/>
          </a:xfrm>
          <a:prstGeom prst="rect">
            <a:avLst/>
          </a:prstGeom>
          <a:noFill/>
        </p:spPr>
        <p:txBody>
          <a:bodyPr wrap="square" rtlCol="0">
            <a:spAutoFit/>
          </a:bodyPr>
          <a:lstStyle/>
          <a:p>
            <a:r>
              <a:rPr lang="en-US"/>
              <a:t>June 23 2021 (FR)</a:t>
            </a:r>
          </a:p>
          <a:p>
            <a:endParaRPr lang="en-US"/>
          </a:p>
        </p:txBody>
      </p:sp>
      <p:sp>
        <p:nvSpPr>
          <p:cNvPr id="14" name="TextBox 13">
            <a:extLst>
              <a:ext uri="{FF2B5EF4-FFF2-40B4-BE49-F238E27FC236}">
                <a16:creationId xmlns:a16="http://schemas.microsoft.com/office/drawing/2014/main" id="{D07898DA-39E2-4C50-9DFF-CDD8BD1B67AD}"/>
              </a:ext>
            </a:extLst>
          </p:cNvPr>
          <p:cNvSpPr txBox="1"/>
          <p:nvPr>
            <p:custDataLst>
              <p:tags r:id="rId7"/>
            </p:custDataLst>
          </p:nvPr>
        </p:nvSpPr>
        <p:spPr>
          <a:xfrm>
            <a:off x="8112882" y="2914547"/>
            <a:ext cx="1266496" cy="307777"/>
          </a:xfrm>
          <a:prstGeom prst="rect">
            <a:avLst/>
          </a:prstGeom>
          <a:noFill/>
        </p:spPr>
        <p:txBody>
          <a:bodyPr wrap="square" rtlCol="0">
            <a:spAutoFit/>
          </a:bodyPr>
          <a:lstStyle/>
          <a:p>
            <a:r>
              <a:rPr lang="en-US"/>
              <a:t>Now</a:t>
            </a:r>
          </a:p>
        </p:txBody>
      </p:sp>
      <p:sp>
        <p:nvSpPr>
          <p:cNvPr id="15" name="TextBox 14">
            <a:extLst>
              <a:ext uri="{FF2B5EF4-FFF2-40B4-BE49-F238E27FC236}">
                <a16:creationId xmlns:a16="http://schemas.microsoft.com/office/drawing/2014/main" id="{18F2D2E9-76DA-4249-94E9-4510BE80904B}"/>
              </a:ext>
            </a:extLst>
          </p:cNvPr>
          <p:cNvSpPr txBox="1"/>
          <p:nvPr>
            <p:custDataLst>
              <p:tags r:id="rId8"/>
            </p:custDataLst>
          </p:nvPr>
        </p:nvSpPr>
        <p:spPr>
          <a:xfrm>
            <a:off x="5702033" y="2451662"/>
            <a:ext cx="1714539" cy="461665"/>
          </a:xfrm>
          <a:prstGeom prst="rect">
            <a:avLst/>
          </a:prstGeom>
          <a:noFill/>
        </p:spPr>
        <p:txBody>
          <a:bodyPr wrap="square" rtlCol="0">
            <a:spAutoFit/>
          </a:bodyPr>
          <a:lstStyle/>
          <a:p>
            <a:r>
              <a:rPr lang="en-US" sz="2400" b="1"/>
              <a:t>DCC</a:t>
            </a:r>
          </a:p>
        </p:txBody>
      </p:sp>
      <p:sp>
        <p:nvSpPr>
          <p:cNvPr id="16" name="TextBox 15">
            <a:extLst>
              <a:ext uri="{FF2B5EF4-FFF2-40B4-BE49-F238E27FC236}">
                <a16:creationId xmlns:a16="http://schemas.microsoft.com/office/drawing/2014/main" id="{EA74D4BD-A154-47F6-BF0C-622DE0645492}"/>
              </a:ext>
            </a:extLst>
          </p:cNvPr>
          <p:cNvSpPr txBox="1"/>
          <p:nvPr>
            <p:custDataLst>
              <p:tags r:id="rId9"/>
            </p:custDataLst>
          </p:nvPr>
        </p:nvSpPr>
        <p:spPr>
          <a:xfrm>
            <a:off x="927108" y="4050862"/>
            <a:ext cx="1657884" cy="246221"/>
          </a:xfrm>
          <a:prstGeom prst="rect">
            <a:avLst/>
          </a:prstGeom>
          <a:noFill/>
        </p:spPr>
        <p:txBody>
          <a:bodyPr wrap="square" rtlCol="0">
            <a:spAutoFit/>
          </a:bodyPr>
          <a:lstStyle/>
          <a:p>
            <a:pPr algn="ctr"/>
            <a:r>
              <a:rPr lang="en-US" sz="1000" i="1">
                <a:solidFill>
                  <a:schemeClr val="bg1">
                    <a:lumMod val="65000"/>
                  </a:schemeClr>
                </a:solidFill>
              </a:rPr>
              <a:t>DCC QR code</a:t>
            </a:r>
            <a:endParaRPr lang="en-BE" sz="1000" i="1">
              <a:solidFill>
                <a:schemeClr val="bg1">
                  <a:lumMod val="65000"/>
                </a:schemeClr>
              </a:solidFill>
            </a:endParaRPr>
          </a:p>
        </p:txBody>
      </p:sp>
    </p:spTree>
    <p:extLst>
      <p:ext uri="{BB962C8B-B14F-4D97-AF65-F5344CB8AC3E}">
        <p14:creationId xmlns:p14="http://schemas.microsoft.com/office/powerpoint/2010/main" val="2842156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pic>
        <p:nvPicPr>
          <p:cNvPr id="8" name="Picture 7">
            <a:extLst>
              <a:ext uri="{FF2B5EF4-FFF2-40B4-BE49-F238E27FC236}">
                <a16:creationId xmlns:a16="http://schemas.microsoft.com/office/drawing/2014/main" id="{EC1D87E2-C519-47A7-8865-FA02DF22315F}"/>
              </a:ext>
            </a:extLst>
          </p:cNvPr>
          <p:cNvPicPr>
            <a:picLocks noChangeAspect="1"/>
          </p:cNvPicPr>
          <p:nvPr>
            <p:custDataLst>
              <p:tags r:id="rId2"/>
            </p:custDataLst>
          </p:nvPr>
        </p:nvPicPr>
        <p:blipFill>
          <a:blip r:embed="rId9"/>
          <a:stretch>
            <a:fillRect/>
          </a:stretch>
        </p:blipFill>
        <p:spPr>
          <a:xfrm>
            <a:off x="860372" y="2092273"/>
            <a:ext cx="1908935" cy="1958589"/>
          </a:xfrm>
          <a:prstGeom prst="rect">
            <a:avLst/>
          </a:prstGeom>
        </p:spPr>
      </p:pic>
      <p:sp>
        <p:nvSpPr>
          <p:cNvPr id="12" name="TextBox 70">
            <a:extLst>
              <a:ext uri="{FF2B5EF4-FFF2-40B4-BE49-F238E27FC236}">
                <a16:creationId xmlns:a16="http://schemas.microsoft.com/office/drawing/2014/main" id="{B24943CB-A122-4E5B-8BB8-103248D93AE9}"/>
              </a:ext>
            </a:extLst>
          </p:cNvPr>
          <p:cNvSpPr txBox="1"/>
          <p:nvPr>
            <p:custDataLst>
              <p:tags r:id="rId3"/>
            </p:custDataLst>
          </p:nvPr>
        </p:nvSpPr>
        <p:spPr>
          <a:xfrm>
            <a:off x="209073" y="424362"/>
            <a:ext cx="4062780" cy="461665"/>
          </a:xfrm>
          <a:prstGeom prst="rect">
            <a:avLst/>
          </a:prstGeom>
          <a:noFill/>
        </p:spPr>
        <p:txBody>
          <a:bodyPr wrap="square" rtlCol="0">
            <a:spAutoFit/>
          </a:bodyPr>
          <a:lstStyle/>
          <a:p>
            <a:r>
              <a:rPr lang="en-US" sz="2400">
                <a:solidFill>
                  <a:srgbClr val="7030A0"/>
                </a:solidFill>
                <a:latin typeface="Helvetica" pitchFamily="2" charset="0"/>
                <a:cs typeface="Arial"/>
              </a:rPr>
              <a:t>But what does it contain?</a:t>
            </a:r>
          </a:p>
        </p:txBody>
      </p:sp>
      <p:pic>
        <p:nvPicPr>
          <p:cNvPr id="16" name="Picture 15">
            <a:extLst>
              <a:ext uri="{FF2B5EF4-FFF2-40B4-BE49-F238E27FC236}">
                <a16:creationId xmlns:a16="http://schemas.microsoft.com/office/drawing/2014/main" id="{E623ED41-9192-4972-88DC-7367D527AB91}"/>
              </a:ext>
            </a:extLst>
          </p:cNvPr>
          <p:cNvPicPr>
            <a:picLocks noChangeAspect="1"/>
          </p:cNvPicPr>
          <p:nvPr>
            <p:custDataLst>
              <p:tags r:id="rId4"/>
            </p:custDataLst>
          </p:nvPr>
        </p:nvPicPr>
        <p:blipFill rotWithShape="1">
          <a:blip r:embed="rId10"/>
          <a:srcRect b="61111"/>
          <a:stretch/>
        </p:blipFill>
        <p:spPr>
          <a:xfrm>
            <a:off x="3782963" y="1895794"/>
            <a:ext cx="5021825" cy="2351545"/>
          </a:xfrm>
          <a:prstGeom prst="rect">
            <a:avLst/>
          </a:prstGeom>
        </p:spPr>
      </p:pic>
      <p:sp>
        <p:nvSpPr>
          <p:cNvPr id="17" name="TextBox 16">
            <a:extLst>
              <a:ext uri="{FF2B5EF4-FFF2-40B4-BE49-F238E27FC236}">
                <a16:creationId xmlns:a16="http://schemas.microsoft.com/office/drawing/2014/main" id="{2A93989B-9FF6-4757-A4D6-15BF4C7FA5B6}"/>
              </a:ext>
            </a:extLst>
          </p:cNvPr>
          <p:cNvSpPr txBox="1"/>
          <p:nvPr>
            <p:custDataLst>
              <p:tags r:id="rId5"/>
            </p:custDataLst>
          </p:nvPr>
        </p:nvSpPr>
        <p:spPr>
          <a:xfrm>
            <a:off x="927108" y="4050862"/>
            <a:ext cx="1657884" cy="246221"/>
          </a:xfrm>
          <a:prstGeom prst="rect">
            <a:avLst/>
          </a:prstGeom>
          <a:noFill/>
        </p:spPr>
        <p:txBody>
          <a:bodyPr wrap="square" rtlCol="0">
            <a:spAutoFit/>
          </a:bodyPr>
          <a:lstStyle/>
          <a:p>
            <a:pPr algn="ctr"/>
            <a:r>
              <a:rPr lang="en-US" sz="1000" i="1">
                <a:solidFill>
                  <a:schemeClr val="bg1">
                    <a:lumMod val="65000"/>
                  </a:schemeClr>
                </a:solidFill>
              </a:rPr>
              <a:t>DDC QR code</a:t>
            </a:r>
            <a:endParaRPr lang="en-BE" sz="1000" i="1">
              <a:solidFill>
                <a:schemeClr val="bg1">
                  <a:lumMod val="65000"/>
                </a:schemeClr>
              </a:solidFill>
            </a:endParaRPr>
          </a:p>
        </p:txBody>
      </p:sp>
      <p:pic>
        <p:nvPicPr>
          <p:cNvPr id="3" name="Picture 2" descr="Text&#10;&#10;Description automatically generated">
            <a:extLst>
              <a:ext uri="{FF2B5EF4-FFF2-40B4-BE49-F238E27FC236}">
                <a16:creationId xmlns:a16="http://schemas.microsoft.com/office/drawing/2014/main" id="{F876099B-0408-4835-A142-19A6F4B22B60}"/>
              </a:ext>
            </a:extLst>
          </p:cNvPr>
          <p:cNvPicPr>
            <a:picLocks noChangeAspect="1"/>
          </p:cNvPicPr>
          <p:nvPr>
            <p:custDataLst>
              <p:tags r:id="rId6"/>
            </p:custDataLst>
          </p:nvPr>
        </p:nvPicPr>
        <p:blipFill rotWithShape="1">
          <a:blip r:embed="rId11"/>
          <a:srcRect b="61113"/>
          <a:stretch/>
        </p:blipFill>
        <p:spPr>
          <a:xfrm>
            <a:off x="3782964" y="1895793"/>
            <a:ext cx="5021824" cy="2351545"/>
          </a:xfrm>
          <a:prstGeom prst="rect">
            <a:avLst/>
          </a:prstGeom>
        </p:spPr>
      </p:pic>
    </p:spTree>
    <p:extLst>
      <p:ext uri="{BB962C8B-B14F-4D97-AF65-F5344CB8AC3E}">
        <p14:creationId xmlns:p14="http://schemas.microsoft.com/office/powerpoint/2010/main" val="1794245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3453328"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Presenters</a:t>
            </a: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654225" y="878832"/>
            <a:ext cx="2457781" cy="400110"/>
          </a:xfrm>
          <a:prstGeom prst="rect">
            <a:avLst/>
          </a:prstGeom>
          <a:noFill/>
        </p:spPr>
        <p:txBody>
          <a:bodyPr wrap="square" rtlCol="0">
            <a:spAutoFit/>
          </a:bodyPr>
          <a:lstStyle/>
          <a:p>
            <a:r>
              <a:rPr lang="en-US" sz="2000" dirty="0">
                <a:solidFill>
                  <a:srgbClr val="B5B1D9"/>
                </a:solidFill>
                <a:latin typeface="Helvetica" pitchFamily="2" charset="0"/>
              </a:rPr>
              <a:t>Excellium - AppSec</a:t>
            </a:r>
            <a:endParaRPr lang="en-US" sz="2000" dirty="0">
              <a:solidFill>
                <a:srgbClr val="B5B1D9"/>
              </a:solidFill>
              <a:latin typeface="Helvetica" pitchFamily="2" charset="0"/>
              <a:cs typeface="Arial"/>
              <a:sym typeface="Arial"/>
            </a:endParaRPr>
          </a:p>
        </p:txBody>
      </p:sp>
      <p:graphicFrame>
        <p:nvGraphicFramePr>
          <p:cNvPr id="12" name="Diagram 11">
            <a:extLst>
              <a:ext uri="{FF2B5EF4-FFF2-40B4-BE49-F238E27FC236}">
                <a16:creationId xmlns:a16="http://schemas.microsoft.com/office/drawing/2014/main" id="{B644A16D-60CF-4E81-B7BD-631789A7463C}"/>
              </a:ext>
            </a:extLst>
          </p:cNvPr>
          <p:cNvGraphicFramePr/>
          <p:nvPr>
            <p:custDataLst>
              <p:tags r:id="rId3"/>
            </p:custDataLst>
            <p:extLst>
              <p:ext uri="{D42A27DB-BD31-4B8C-83A1-F6EECF244321}">
                <p14:modId xmlns:p14="http://schemas.microsoft.com/office/powerpoint/2010/main" val="395156024"/>
              </p:ext>
            </p:extLst>
          </p:nvPr>
        </p:nvGraphicFramePr>
        <p:xfrm>
          <a:off x="432872" y="1176154"/>
          <a:ext cx="2747234" cy="30287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a:extLst>
              <a:ext uri="{FF2B5EF4-FFF2-40B4-BE49-F238E27FC236}">
                <a16:creationId xmlns:a16="http://schemas.microsoft.com/office/drawing/2014/main" id="{7B51C2DC-17B7-49A8-BBF4-FEF58EE3F3BA}"/>
              </a:ext>
            </a:extLst>
          </p:cNvPr>
          <p:cNvGraphicFramePr/>
          <p:nvPr>
            <p:custDataLst>
              <p:tags r:id="rId4"/>
            </p:custDataLst>
            <p:extLst>
              <p:ext uri="{D42A27DB-BD31-4B8C-83A1-F6EECF244321}">
                <p14:modId xmlns:p14="http://schemas.microsoft.com/office/powerpoint/2010/main" val="4215354835"/>
              </p:ext>
            </p:extLst>
          </p:nvPr>
        </p:nvGraphicFramePr>
        <p:xfrm>
          <a:off x="3845452" y="681896"/>
          <a:ext cx="2898248" cy="377970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0" name="Diagram 9">
            <a:extLst>
              <a:ext uri="{FF2B5EF4-FFF2-40B4-BE49-F238E27FC236}">
                <a16:creationId xmlns:a16="http://schemas.microsoft.com/office/drawing/2014/main" id="{0ED20E39-2269-41A1-9B03-654E50B333C8}"/>
              </a:ext>
            </a:extLst>
          </p:cNvPr>
          <p:cNvGraphicFramePr/>
          <p:nvPr>
            <p:custDataLst>
              <p:tags r:id="rId5"/>
            </p:custDataLst>
            <p:extLst>
              <p:ext uri="{D42A27DB-BD31-4B8C-83A1-F6EECF244321}">
                <p14:modId xmlns:p14="http://schemas.microsoft.com/office/powerpoint/2010/main" val="258605026"/>
              </p:ext>
            </p:extLst>
          </p:nvPr>
        </p:nvGraphicFramePr>
        <p:xfrm>
          <a:off x="5933640" y="1656594"/>
          <a:ext cx="3267138" cy="3261907"/>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4994636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pic>
        <p:nvPicPr>
          <p:cNvPr id="8" name="Picture 7">
            <a:extLst>
              <a:ext uri="{FF2B5EF4-FFF2-40B4-BE49-F238E27FC236}">
                <a16:creationId xmlns:a16="http://schemas.microsoft.com/office/drawing/2014/main" id="{EC1D87E2-C519-47A7-8865-FA02DF22315F}"/>
              </a:ext>
            </a:extLst>
          </p:cNvPr>
          <p:cNvPicPr>
            <a:picLocks noChangeAspect="1"/>
          </p:cNvPicPr>
          <p:nvPr>
            <p:custDataLst>
              <p:tags r:id="rId2"/>
            </p:custDataLst>
          </p:nvPr>
        </p:nvPicPr>
        <p:blipFill>
          <a:blip r:embed="rId8"/>
          <a:stretch>
            <a:fillRect/>
          </a:stretch>
        </p:blipFill>
        <p:spPr>
          <a:xfrm>
            <a:off x="860372" y="2092273"/>
            <a:ext cx="1908935" cy="1958589"/>
          </a:xfrm>
          <a:prstGeom prst="rect">
            <a:avLst/>
          </a:prstGeom>
        </p:spPr>
      </p:pic>
      <p:sp>
        <p:nvSpPr>
          <p:cNvPr id="12" name="TextBox 70">
            <a:extLst>
              <a:ext uri="{FF2B5EF4-FFF2-40B4-BE49-F238E27FC236}">
                <a16:creationId xmlns:a16="http://schemas.microsoft.com/office/drawing/2014/main" id="{B24943CB-A122-4E5B-8BB8-103248D93AE9}"/>
              </a:ext>
            </a:extLst>
          </p:cNvPr>
          <p:cNvSpPr txBox="1"/>
          <p:nvPr>
            <p:custDataLst>
              <p:tags r:id="rId3"/>
            </p:custDataLst>
          </p:nvPr>
        </p:nvSpPr>
        <p:spPr>
          <a:xfrm>
            <a:off x="209073" y="424362"/>
            <a:ext cx="4062780" cy="461665"/>
          </a:xfrm>
          <a:prstGeom prst="rect">
            <a:avLst/>
          </a:prstGeom>
          <a:noFill/>
        </p:spPr>
        <p:txBody>
          <a:bodyPr wrap="square" rtlCol="0">
            <a:spAutoFit/>
          </a:bodyPr>
          <a:lstStyle/>
          <a:p>
            <a:r>
              <a:rPr lang="en-US" sz="2400">
                <a:solidFill>
                  <a:srgbClr val="7030A0"/>
                </a:solidFill>
                <a:latin typeface="Helvetica" pitchFamily="2" charset="0"/>
                <a:cs typeface="Arial"/>
              </a:rPr>
              <a:t>But what does it contain?</a:t>
            </a:r>
          </a:p>
        </p:txBody>
      </p:sp>
      <p:sp>
        <p:nvSpPr>
          <p:cNvPr id="17" name="TextBox 16">
            <a:extLst>
              <a:ext uri="{FF2B5EF4-FFF2-40B4-BE49-F238E27FC236}">
                <a16:creationId xmlns:a16="http://schemas.microsoft.com/office/drawing/2014/main" id="{2A93989B-9FF6-4757-A4D6-15BF4C7FA5B6}"/>
              </a:ext>
            </a:extLst>
          </p:cNvPr>
          <p:cNvSpPr txBox="1"/>
          <p:nvPr>
            <p:custDataLst>
              <p:tags r:id="rId4"/>
            </p:custDataLst>
          </p:nvPr>
        </p:nvSpPr>
        <p:spPr>
          <a:xfrm>
            <a:off x="927108" y="4050862"/>
            <a:ext cx="1657884" cy="246221"/>
          </a:xfrm>
          <a:prstGeom prst="rect">
            <a:avLst/>
          </a:prstGeom>
          <a:noFill/>
        </p:spPr>
        <p:txBody>
          <a:bodyPr wrap="square" rtlCol="0">
            <a:spAutoFit/>
          </a:bodyPr>
          <a:lstStyle/>
          <a:p>
            <a:pPr algn="ctr"/>
            <a:r>
              <a:rPr lang="en-US" sz="1000" i="1">
                <a:solidFill>
                  <a:schemeClr val="bg1">
                    <a:lumMod val="65000"/>
                  </a:schemeClr>
                </a:solidFill>
              </a:rPr>
              <a:t>DDC QR code</a:t>
            </a:r>
            <a:endParaRPr lang="en-BE" sz="1000" i="1">
              <a:solidFill>
                <a:schemeClr val="bg1">
                  <a:lumMod val="65000"/>
                </a:schemeClr>
              </a:solidFill>
            </a:endParaRPr>
          </a:p>
        </p:txBody>
      </p:sp>
      <p:graphicFrame>
        <p:nvGraphicFramePr>
          <p:cNvPr id="6" name="Table 2">
            <a:extLst>
              <a:ext uri="{FF2B5EF4-FFF2-40B4-BE49-F238E27FC236}">
                <a16:creationId xmlns:a16="http://schemas.microsoft.com/office/drawing/2014/main" id="{D228F73B-7F1B-47D1-80E8-49121E68919D}"/>
              </a:ext>
            </a:extLst>
          </p:cNvPr>
          <p:cNvGraphicFramePr>
            <a:graphicFrameLocks noGrp="1"/>
          </p:cNvGraphicFramePr>
          <p:nvPr>
            <p:custDataLst>
              <p:tags r:id="rId5"/>
            </p:custDataLst>
            <p:extLst>
              <p:ext uri="{D42A27DB-BD31-4B8C-83A1-F6EECF244321}">
                <p14:modId xmlns:p14="http://schemas.microsoft.com/office/powerpoint/2010/main" val="2421612261"/>
              </p:ext>
            </p:extLst>
          </p:nvPr>
        </p:nvGraphicFramePr>
        <p:xfrm>
          <a:off x="4243980" y="1630002"/>
          <a:ext cx="3972912" cy="2883130"/>
        </p:xfrm>
        <a:graphic>
          <a:graphicData uri="http://schemas.openxmlformats.org/drawingml/2006/table">
            <a:tbl>
              <a:tblPr firstRow="1" firstCol="1" bandRow="1">
                <a:tableStyleId>{21E4AEA4-8DFA-4A89-87EB-49C32662AFE0}</a:tableStyleId>
              </a:tblPr>
              <a:tblGrid>
                <a:gridCol w="1986456">
                  <a:extLst>
                    <a:ext uri="{9D8B030D-6E8A-4147-A177-3AD203B41FA5}">
                      <a16:colId xmlns:a16="http://schemas.microsoft.com/office/drawing/2014/main" val="2555557491"/>
                    </a:ext>
                  </a:extLst>
                </a:gridCol>
                <a:gridCol w="1986456">
                  <a:extLst>
                    <a:ext uri="{9D8B030D-6E8A-4147-A177-3AD203B41FA5}">
                      <a16:colId xmlns:a16="http://schemas.microsoft.com/office/drawing/2014/main" val="331159357"/>
                    </a:ext>
                  </a:extLst>
                </a:gridCol>
              </a:tblGrid>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Personal data</a:t>
                      </a:r>
                    </a:p>
                  </a:txBody>
                  <a:tcPr anchor="ctr"/>
                </a:tc>
                <a:tc>
                  <a:txBody>
                    <a:bodyPr/>
                    <a:lstStyle/>
                    <a:p>
                      <a:pPr algn="ctr"/>
                      <a:r>
                        <a:rPr lang="en-US"/>
                        <a:t>Medical data</a:t>
                      </a:r>
                      <a:endParaRPr lang="en-BE"/>
                    </a:p>
                  </a:txBody>
                  <a:tcPr anchor="ctr"/>
                </a:tc>
                <a:extLst>
                  <a:ext uri="{0D108BD9-81ED-4DB2-BD59-A6C34878D82A}">
                    <a16:rowId xmlns:a16="http://schemas.microsoft.com/office/drawing/2014/main" val="2226489969"/>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ame of the vaccin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12318967"/>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First 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umber of doses received</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925122870"/>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Date of birth</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umber of doses needed</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extLst>
                  <a:ext uri="{0D108BD9-81ED-4DB2-BD59-A6C34878D82A}">
                    <a16:rowId xmlns:a16="http://schemas.microsoft.com/office/drawing/2014/main" val="635143750"/>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kumimoji="0" lang="en-US" sz="1350" b="0" i="0" u="none" strike="noStrike" kern="1200" cap="none" spc="0" normalizeH="0" baseline="0" noProof="0">
                          <a:ln>
                            <a:noFill/>
                          </a:ln>
                          <a:solidFill>
                            <a:prstClr val="black"/>
                          </a:solidFill>
                          <a:effectLst/>
                          <a:uLnTx/>
                          <a:uFillTx/>
                          <a:latin typeface="+mn-lt"/>
                          <a:ea typeface="+mn-ea"/>
                          <a:cs typeface="+mn-cs"/>
                        </a:rPr>
                        <a:t>Date of the last injection</a:t>
                      </a:r>
                      <a:endParaRPr lang="en-BE"/>
                    </a:p>
                  </a:txBody>
                  <a:tcPr anchor="ctr">
                    <a:solidFill>
                      <a:schemeClr val="accent2">
                        <a:lumMod val="20000"/>
                        <a:lumOff val="80000"/>
                      </a:schemeClr>
                    </a:solidFill>
                  </a:tcPr>
                </a:tc>
                <a:extLst>
                  <a:ext uri="{0D108BD9-81ED-4DB2-BD59-A6C34878D82A}">
                    <a16:rowId xmlns:a16="http://schemas.microsoft.com/office/drawing/2014/main" val="560187771"/>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cs typeface="Arial" panose="020B0604020202020204" pitchFamily="34" charset="0"/>
                        </a:rPr>
                        <a:t>Country in which the vaccine was administered</a:t>
                      </a:r>
                    </a:p>
                  </a:txBody>
                  <a:tcPr anchor="ctr">
                    <a:solidFill>
                      <a:schemeClr val="accent2">
                        <a:lumMod val="20000"/>
                        <a:lumOff val="80000"/>
                      </a:schemeClr>
                    </a:solidFill>
                  </a:tcPr>
                </a:tc>
                <a:extLst>
                  <a:ext uri="{0D108BD9-81ED-4DB2-BD59-A6C34878D82A}">
                    <a16:rowId xmlns:a16="http://schemas.microsoft.com/office/drawing/2014/main" val="1151929633"/>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cs typeface="Arial" panose="020B0604020202020204" pitchFamily="34" charset="0"/>
                        </a:rPr>
                        <a:t>The issuer of the pass (ex: CNAM)</a:t>
                      </a:r>
                    </a:p>
                  </a:txBody>
                  <a:tcPr anchor="ctr">
                    <a:solidFill>
                      <a:schemeClr val="accent2">
                        <a:lumMod val="20000"/>
                        <a:lumOff val="80000"/>
                      </a:schemeClr>
                    </a:solidFill>
                  </a:tcPr>
                </a:tc>
                <a:extLst>
                  <a:ext uri="{0D108BD9-81ED-4DB2-BD59-A6C34878D82A}">
                    <a16:rowId xmlns:a16="http://schemas.microsoft.com/office/drawing/2014/main" val="1706010541"/>
                  </a:ext>
                </a:extLst>
              </a:tr>
            </a:tbl>
          </a:graphicData>
        </a:graphic>
      </p:graphicFrame>
    </p:spTree>
    <p:extLst>
      <p:ext uri="{BB962C8B-B14F-4D97-AF65-F5344CB8AC3E}">
        <p14:creationId xmlns:p14="http://schemas.microsoft.com/office/powerpoint/2010/main" val="489198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sp>
        <p:nvSpPr>
          <p:cNvPr id="7" name="TextBox 70">
            <a:extLst>
              <a:ext uri="{FF2B5EF4-FFF2-40B4-BE49-F238E27FC236}">
                <a16:creationId xmlns:a16="http://schemas.microsoft.com/office/drawing/2014/main" id="{FC7034FD-E775-4166-B15A-338B85E092AC}"/>
              </a:ext>
            </a:extLst>
          </p:cNvPr>
          <p:cNvSpPr txBox="1"/>
          <p:nvPr>
            <p:custDataLst>
              <p:tags r:id="rId2"/>
            </p:custDataLst>
          </p:nvPr>
        </p:nvSpPr>
        <p:spPr>
          <a:xfrm>
            <a:off x="209073" y="424362"/>
            <a:ext cx="4474022" cy="1323439"/>
          </a:xfrm>
          <a:prstGeom prst="rect">
            <a:avLst/>
          </a:prstGeom>
          <a:noFill/>
        </p:spPr>
        <p:txBody>
          <a:bodyPr wrap="square" rtlCol="0">
            <a:spAutoFit/>
          </a:bodyPr>
          <a:lstStyle/>
          <a:p>
            <a:r>
              <a:rPr lang="en-US" sz="2400">
                <a:solidFill>
                  <a:srgbClr val="7030A0"/>
                </a:solidFill>
                <a:latin typeface="Helvetica" pitchFamily="2" charset="0"/>
                <a:cs typeface="Arial"/>
              </a:rPr>
              <a:t>We know fo</a:t>
            </a:r>
            <a:r>
              <a:rPr lang="en-US" sz="2400">
                <a:solidFill>
                  <a:srgbClr val="7030A0"/>
                </a:solidFill>
                <a:latin typeface="Helvetica" pitchFamily="2" charset="0"/>
              </a:rPr>
              <a:t>r the vaccine, and what about the </a:t>
            </a:r>
            <a:r>
              <a:rPr lang="en-US" sz="2400" b="1">
                <a:solidFill>
                  <a:srgbClr val="7030A0"/>
                </a:solidFill>
                <a:latin typeface="Helvetica" pitchFamily="2" charset="0"/>
              </a:rPr>
              <a:t>COVID</a:t>
            </a:r>
            <a:r>
              <a:rPr lang="en-US" sz="2400">
                <a:solidFill>
                  <a:srgbClr val="7030A0"/>
                </a:solidFill>
                <a:latin typeface="Helvetica" pitchFamily="2" charset="0"/>
              </a:rPr>
              <a:t> </a:t>
            </a:r>
            <a:r>
              <a:rPr lang="en-US" sz="2400" b="1">
                <a:solidFill>
                  <a:srgbClr val="7030A0"/>
                </a:solidFill>
                <a:latin typeface="Helvetica" pitchFamily="2" charset="0"/>
              </a:rPr>
              <a:t>tests</a:t>
            </a:r>
            <a:r>
              <a:rPr lang="en-US" sz="2400">
                <a:solidFill>
                  <a:srgbClr val="7030A0"/>
                </a:solidFill>
                <a:latin typeface="Helvetica" pitchFamily="2" charset="0"/>
              </a:rPr>
              <a:t>?</a:t>
            </a:r>
            <a:endParaRPr lang="en-US" sz="2400">
              <a:solidFill>
                <a:srgbClr val="7030A0"/>
              </a:solidFill>
              <a:latin typeface="Helvetica" pitchFamily="2" charset="0"/>
              <a:cs typeface="Arial"/>
            </a:endParaRPr>
          </a:p>
          <a:p>
            <a:endParaRPr lang="en-US" sz="3200">
              <a:solidFill>
                <a:srgbClr val="7030A0"/>
              </a:solidFill>
              <a:latin typeface="Helvetica" pitchFamily="2" charset="0"/>
              <a:cs typeface="Arial"/>
            </a:endParaRPr>
          </a:p>
        </p:txBody>
      </p:sp>
      <p:pic>
        <p:nvPicPr>
          <p:cNvPr id="9" name="Picture 8" descr="Qr code&#10;&#10;Description automatically generated">
            <a:extLst>
              <a:ext uri="{FF2B5EF4-FFF2-40B4-BE49-F238E27FC236}">
                <a16:creationId xmlns:a16="http://schemas.microsoft.com/office/drawing/2014/main" id="{1524B4F4-1CED-4247-9CA2-5F0188428737}"/>
              </a:ext>
            </a:extLst>
          </p:cNvPr>
          <p:cNvPicPr>
            <a:picLocks noChangeAspect="1"/>
          </p:cNvPicPr>
          <p:nvPr>
            <p:custDataLst>
              <p:tags r:id="rId3"/>
            </p:custDataLst>
          </p:nvPr>
        </p:nvPicPr>
        <p:blipFill>
          <a:blip r:embed="rId9"/>
          <a:stretch>
            <a:fillRect/>
          </a:stretch>
        </p:blipFill>
        <p:spPr>
          <a:xfrm>
            <a:off x="959934" y="2074867"/>
            <a:ext cx="1810508" cy="1936238"/>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7E61CE90-2F7F-4CDC-8E08-E2B8E55FF9FA}"/>
              </a:ext>
            </a:extLst>
          </p:cNvPr>
          <p:cNvPicPr>
            <a:picLocks noChangeAspect="1"/>
          </p:cNvPicPr>
          <p:nvPr>
            <p:custDataLst>
              <p:tags r:id="rId4"/>
            </p:custDataLst>
          </p:nvPr>
        </p:nvPicPr>
        <p:blipFill rotWithShape="1">
          <a:blip r:embed="rId10"/>
          <a:srcRect t="-130" b="60672"/>
          <a:stretch/>
        </p:blipFill>
        <p:spPr>
          <a:xfrm>
            <a:off x="3913697" y="1962525"/>
            <a:ext cx="4733636" cy="2249128"/>
          </a:xfrm>
          <a:prstGeom prst="rect">
            <a:avLst/>
          </a:prstGeom>
        </p:spPr>
      </p:pic>
      <p:sp>
        <p:nvSpPr>
          <p:cNvPr id="11" name="TextBox 10">
            <a:extLst>
              <a:ext uri="{FF2B5EF4-FFF2-40B4-BE49-F238E27FC236}">
                <a16:creationId xmlns:a16="http://schemas.microsoft.com/office/drawing/2014/main" id="{713361C6-6489-4F16-BE68-D638443CDBC3}"/>
              </a:ext>
            </a:extLst>
          </p:cNvPr>
          <p:cNvSpPr txBox="1"/>
          <p:nvPr>
            <p:custDataLst>
              <p:tags r:id="rId5"/>
            </p:custDataLst>
          </p:nvPr>
        </p:nvSpPr>
        <p:spPr>
          <a:xfrm>
            <a:off x="1036246" y="4088542"/>
            <a:ext cx="1657884" cy="246221"/>
          </a:xfrm>
          <a:prstGeom prst="rect">
            <a:avLst/>
          </a:prstGeom>
          <a:noFill/>
        </p:spPr>
        <p:txBody>
          <a:bodyPr wrap="square" rtlCol="0">
            <a:spAutoFit/>
          </a:bodyPr>
          <a:lstStyle/>
          <a:p>
            <a:pPr algn="ctr"/>
            <a:r>
              <a:rPr lang="en-US" sz="1000" i="1">
                <a:solidFill>
                  <a:schemeClr val="tx2"/>
                </a:solidFill>
              </a:rPr>
              <a:t>COVID Test QR code</a:t>
            </a:r>
            <a:endParaRPr lang="en-BE" sz="1000" i="1">
              <a:solidFill>
                <a:schemeClr val="tx2"/>
              </a:solidFill>
            </a:endParaRPr>
          </a:p>
        </p:txBody>
      </p:sp>
      <p:pic>
        <p:nvPicPr>
          <p:cNvPr id="3" name="Picture 2" descr="Text&#10;&#10;Description automatically generated">
            <a:extLst>
              <a:ext uri="{FF2B5EF4-FFF2-40B4-BE49-F238E27FC236}">
                <a16:creationId xmlns:a16="http://schemas.microsoft.com/office/drawing/2014/main" id="{EA4676CD-53D9-4B33-81C6-6EED3CDD2BD1}"/>
              </a:ext>
            </a:extLst>
          </p:cNvPr>
          <p:cNvPicPr>
            <a:picLocks noChangeAspect="1"/>
          </p:cNvPicPr>
          <p:nvPr>
            <p:custDataLst>
              <p:tags r:id="rId6"/>
            </p:custDataLst>
          </p:nvPr>
        </p:nvPicPr>
        <p:blipFill rotWithShape="1">
          <a:blip r:embed="rId11"/>
          <a:srcRect b="60552"/>
          <a:stretch/>
        </p:blipFill>
        <p:spPr>
          <a:xfrm>
            <a:off x="3913697" y="1963094"/>
            <a:ext cx="4733636" cy="2248558"/>
          </a:xfrm>
          <a:prstGeom prst="rect">
            <a:avLst/>
          </a:prstGeom>
        </p:spPr>
      </p:pic>
    </p:spTree>
    <p:extLst>
      <p:ext uri="{BB962C8B-B14F-4D97-AF65-F5344CB8AC3E}">
        <p14:creationId xmlns:p14="http://schemas.microsoft.com/office/powerpoint/2010/main" val="1785664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sp>
        <p:nvSpPr>
          <p:cNvPr id="12" name="TextBox 70">
            <a:extLst>
              <a:ext uri="{FF2B5EF4-FFF2-40B4-BE49-F238E27FC236}">
                <a16:creationId xmlns:a16="http://schemas.microsoft.com/office/drawing/2014/main" id="{B24943CB-A122-4E5B-8BB8-103248D93AE9}"/>
              </a:ext>
            </a:extLst>
          </p:cNvPr>
          <p:cNvSpPr txBox="1"/>
          <p:nvPr>
            <p:custDataLst>
              <p:tags r:id="rId2"/>
            </p:custDataLst>
          </p:nvPr>
        </p:nvSpPr>
        <p:spPr>
          <a:xfrm>
            <a:off x="209073" y="424362"/>
            <a:ext cx="4062780" cy="461665"/>
          </a:xfrm>
          <a:prstGeom prst="rect">
            <a:avLst/>
          </a:prstGeom>
          <a:noFill/>
        </p:spPr>
        <p:txBody>
          <a:bodyPr wrap="square" rtlCol="0">
            <a:spAutoFit/>
          </a:bodyPr>
          <a:lstStyle/>
          <a:p>
            <a:r>
              <a:rPr lang="en-US" sz="2400">
                <a:solidFill>
                  <a:srgbClr val="7030A0"/>
                </a:solidFill>
                <a:latin typeface="Helvetica" pitchFamily="2" charset="0"/>
                <a:cs typeface="Arial"/>
              </a:rPr>
              <a:t>But what does it contain?</a:t>
            </a:r>
          </a:p>
        </p:txBody>
      </p:sp>
      <p:graphicFrame>
        <p:nvGraphicFramePr>
          <p:cNvPr id="6" name="Table 2">
            <a:extLst>
              <a:ext uri="{FF2B5EF4-FFF2-40B4-BE49-F238E27FC236}">
                <a16:creationId xmlns:a16="http://schemas.microsoft.com/office/drawing/2014/main" id="{D228F73B-7F1B-47D1-80E8-49121E68919D}"/>
              </a:ext>
            </a:extLst>
          </p:cNvPr>
          <p:cNvGraphicFramePr>
            <a:graphicFrameLocks noGrp="1"/>
          </p:cNvGraphicFramePr>
          <p:nvPr>
            <p:custDataLst>
              <p:tags r:id="rId3"/>
            </p:custDataLst>
            <p:extLst>
              <p:ext uri="{D42A27DB-BD31-4B8C-83A1-F6EECF244321}">
                <p14:modId xmlns:p14="http://schemas.microsoft.com/office/powerpoint/2010/main" val="1387543993"/>
              </p:ext>
            </p:extLst>
          </p:nvPr>
        </p:nvGraphicFramePr>
        <p:xfrm>
          <a:off x="4243980" y="1927874"/>
          <a:ext cx="3972912" cy="2287385"/>
        </p:xfrm>
        <a:graphic>
          <a:graphicData uri="http://schemas.openxmlformats.org/drawingml/2006/table">
            <a:tbl>
              <a:tblPr firstRow="1" firstCol="1" bandRow="1">
                <a:tableStyleId>{21E4AEA4-8DFA-4A89-87EB-49C32662AFE0}</a:tableStyleId>
              </a:tblPr>
              <a:tblGrid>
                <a:gridCol w="1986456">
                  <a:extLst>
                    <a:ext uri="{9D8B030D-6E8A-4147-A177-3AD203B41FA5}">
                      <a16:colId xmlns:a16="http://schemas.microsoft.com/office/drawing/2014/main" val="2555557491"/>
                    </a:ext>
                  </a:extLst>
                </a:gridCol>
                <a:gridCol w="1986456">
                  <a:extLst>
                    <a:ext uri="{9D8B030D-6E8A-4147-A177-3AD203B41FA5}">
                      <a16:colId xmlns:a16="http://schemas.microsoft.com/office/drawing/2014/main" val="331159357"/>
                    </a:ext>
                  </a:extLst>
                </a:gridCol>
              </a:tblGrid>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Personal data</a:t>
                      </a:r>
                    </a:p>
                  </a:txBody>
                  <a:tcPr anchor="ctr"/>
                </a:tc>
                <a:tc>
                  <a:txBody>
                    <a:bodyPr/>
                    <a:lstStyle/>
                    <a:p>
                      <a:pPr algn="ctr"/>
                      <a:r>
                        <a:rPr lang="en-US"/>
                        <a:t>Medical data</a:t>
                      </a:r>
                      <a:endParaRPr lang="en-BE"/>
                    </a:p>
                  </a:txBody>
                  <a:tcPr anchor="ctr"/>
                </a:tc>
                <a:extLst>
                  <a:ext uri="{0D108BD9-81ED-4DB2-BD59-A6C34878D82A}">
                    <a16:rowId xmlns:a16="http://schemas.microsoft.com/office/drawing/2014/main" val="2226489969"/>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Type of test</a:t>
                      </a:r>
                    </a:p>
                  </a:txBody>
                  <a:tcPr anchor="ctr">
                    <a:solidFill>
                      <a:schemeClr val="accent2">
                        <a:lumMod val="20000"/>
                        <a:lumOff val="80000"/>
                      </a:schemeClr>
                    </a:solidFill>
                  </a:tcPr>
                </a:tc>
                <a:extLst>
                  <a:ext uri="{0D108BD9-81ED-4DB2-BD59-A6C34878D82A}">
                    <a16:rowId xmlns:a16="http://schemas.microsoft.com/office/drawing/2014/main" val="212318967"/>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First Name</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Date and time of the test</a:t>
                      </a:r>
                    </a:p>
                  </a:txBody>
                  <a:tcPr anchor="ctr">
                    <a:solidFill>
                      <a:schemeClr val="accent2">
                        <a:lumMod val="20000"/>
                        <a:lumOff val="80000"/>
                      </a:schemeClr>
                    </a:solidFill>
                  </a:tcPr>
                </a:tc>
                <a:extLst>
                  <a:ext uri="{0D108BD9-81ED-4DB2-BD59-A6C34878D82A}">
                    <a16:rowId xmlns:a16="http://schemas.microsoft.com/office/drawing/2014/main" val="925122870"/>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Date of birth</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Testing center</a:t>
                      </a:r>
                    </a:p>
                  </a:txBody>
                  <a:tcPr anchor="ctr">
                    <a:solidFill>
                      <a:srgbClr val="E7E6F4"/>
                    </a:solidFill>
                  </a:tcPr>
                </a:tc>
                <a:extLst>
                  <a:ext uri="{0D108BD9-81ED-4DB2-BD59-A6C34878D82A}">
                    <a16:rowId xmlns:a16="http://schemas.microsoft.com/office/drawing/2014/main" val="635143750"/>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lang="en-US"/>
                        <a:t>Country in which the test was performed</a:t>
                      </a:r>
                    </a:p>
                  </a:txBody>
                  <a:tcPr anchor="ctr">
                    <a:solidFill>
                      <a:schemeClr val="accent2">
                        <a:lumMod val="20000"/>
                        <a:lumOff val="80000"/>
                      </a:schemeClr>
                    </a:solidFill>
                  </a:tcPr>
                </a:tc>
                <a:extLst>
                  <a:ext uri="{0D108BD9-81ED-4DB2-BD59-A6C34878D82A}">
                    <a16:rowId xmlns:a16="http://schemas.microsoft.com/office/drawing/2014/main" val="560187771"/>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ea typeface="Calibri" panose="020F0502020204030204" pitchFamily="34" charset="0"/>
                          <a:cs typeface="Arial" panose="020B0604020202020204" pitchFamily="34" charset="0"/>
                        </a:rPr>
                        <a:t>The issuer of the pass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ea typeface="Calibri" panose="020F0502020204030204" pitchFamily="34" charset="0"/>
                          <a:cs typeface="Arial" panose="020B0604020202020204" pitchFamily="34" charset="0"/>
                        </a:rPr>
                        <a:t>(ex: CNAM)</a:t>
                      </a:r>
                    </a:p>
                  </a:txBody>
                  <a:tcPr anchor="ctr">
                    <a:solidFill>
                      <a:schemeClr val="accent2">
                        <a:lumMod val="20000"/>
                        <a:lumOff val="80000"/>
                      </a:schemeClr>
                    </a:solidFill>
                  </a:tcPr>
                </a:tc>
                <a:extLst>
                  <a:ext uri="{0D108BD9-81ED-4DB2-BD59-A6C34878D82A}">
                    <a16:rowId xmlns:a16="http://schemas.microsoft.com/office/drawing/2014/main" val="1151929633"/>
                  </a:ext>
                </a:extLst>
              </a:tr>
            </a:tbl>
          </a:graphicData>
        </a:graphic>
      </p:graphicFrame>
      <p:pic>
        <p:nvPicPr>
          <p:cNvPr id="9" name="Picture 8" descr="Qr code&#10;&#10;Description automatically generated">
            <a:extLst>
              <a:ext uri="{FF2B5EF4-FFF2-40B4-BE49-F238E27FC236}">
                <a16:creationId xmlns:a16="http://schemas.microsoft.com/office/drawing/2014/main" id="{032F7B61-8C1F-4549-88FF-26DA015C39EA}"/>
              </a:ext>
            </a:extLst>
          </p:cNvPr>
          <p:cNvPicPr>
            <a:picLocks noChangeAspect="1"/>
          </p:cNvPicPr>
          <p:nvPr>
            <p:custDataLst>
              <p:tags r:id="rId4"/>
            </p:custDataLst>
          </p:nvPr>
        </p:nvPicPr>
        <p:blipFill>
          <a:blip r:embed="rId8"/>
          <a:stretch>
            <a:fillRect/>
          </a:stretch>
        </p:blipFill>
        <p:spPr>
          <a:xfrm>
            <a:off x="959934" y="2074867"/>
            <a:ext cx="1810508" cy="1936238"/>
          </a:xfrm>
          <a:prstGeom prst="rect">
            <a:avLst/>
          </a:prstGeom>
        </p:spPr>
      </p:pic>
      <p:sp>
        <p:nvSpPr>
          <p:cNvPr id="10" name="TextBox 9">
            <a:extLst>
              <a:ext uri="{FF2B5EF4-FFF2-40B4-BE49-F238E27FC236}">
                <a16:creationId xmlns:a16="http://schemas.microsoft.com/office/drawing/2014/main" id="{A5612C24-9BBE-443B-878F-7D7955B2C531}"/>
              </a:ext>
            </a:extLst>
          </p:cNvPr>
          <p:cNvSpPr txBox="1"/>
          <p:nvPr>
            <p:custDataLst>
              <p:tags r:id="rId5"/>
            </p:custDataLst>
          </p:nvPr>
        </p:nvSpPr>
        <p:spPr>
          <a:xfrm>
            <a:off x="1036246" y="4088542"/>
            <a:ext cx="1657884" cy="246221"/>
          </a:xfrm>
          <a:prstGeom prst="rect">
            <a:avLst/>
          </a:prstGeom>
          <a:noFill/>
        </p:spPr>
        <p:txBody>
          <a:bodyPr wrap="square" rtlCol="0">
            <a:spAutoFit/>
          </a:bodyPr>
          <a:lstStyle/>
          <a:p>
            <a:pPr algn="ctr"/>
            <a:r>
              <a:rPr lang="en-US" sz="1000" i="1">
                <a:solidFill>
                  <a:schemeClr val="tx2"/>
                </a:solidFill>
              </a:rPr>
              <a:t>COVID Test QR code</a:t>
            </a:r>
            <a:endParaRPr lang="en-BE" sz="1000" i="1">
              <a:solidFill>
                <a:schemeClr val="tx2"/>
              </a:solidFill>
            </a:endParaRPr>
          </a:p>
        </p:txBody>
      </p:sp>
    </p:spTree>
    <p:extLst>
      <p:ext uri="{BB962C8B-B14F-4D97-AF65-F5344CB8AC3E}">
        <p14:creationId xmlns:p14="http://schemas.microsoft.com/office/powerpoint/2010/main" val="40873875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14">
            <a:extLst>
              <a:ext uri="{FF2B5EF4-FFF2-40B4-BE49-F238E27FC236}">
                <a16:creationId xmlns:a16="http://schemas.microsoft.com/office/drawing/2014/main" id="{C61B4995-4EFA-4848-8511-6E94B58DCA33}"/>
              </a:ext>
            </a:extLst>
          </p:cNvPr>
          <p:cNvSpPr txBox="1">
            <a:spLocks/>
          </p:cNvSpPr>
          <p:nvPr>
            <p:custDataLst>
              <p:tags r:id="rId1"/>
            </p:custDataLst>
          </p:nvPr>
        </p:nvSpPr>
        <p:spPr>
          <a:xfrm>
            <a:off x="3826383" y="1550578"/>
            <a:ext cx="4919747" cy="3175539"/>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endParaRPr lang="en-BE" sz="1800">
              <a:latin typeface="Calibri"/>
              <a:ea typeface="Calibri" panose="020F0502020204030204" pitchFamily="34" charset="0"/>
              <a:cs typeface="Arial"/>
            </a:endParaRPr>
          </a:p>
        </p:txBody>
      </p:sp>
      <p:sp>
        <p:nvSpPr>
          <p:cNvPr id="9" name="TextBox 70">
            <a:extLst>
              <a:ext uri="{FF2B5EF4-FFF2-40B4-BE49-F238E27FC236}">
                <a16:creationId xmlns:a16="http://schemas.microsoft.com/office/drawing/2014/main" id="{02C544C8-C14B-481A-A936-F010CE86D849}"/>
              </a:ext>
            </a:extLst>
          </p:cNvPr>
          <p:cNvSpPr txBox="1"/>
          <p:nvPr>
            <p:custDataLst>
              <p:tags r:id="rId2"/>
            </p:custDataLst>
          </p:nvPr>
        </p:nvSpPr>
        <p:spPr>
          <a:xfrm>
            <a:off x="209073" y="424362"/>
            <a:ext cx="4062780" cy="954107"/>
          </a:xfrm>
          <a:prstGeom prst="rect">
            <a:avLst/>
          </a:prstGeom>
          <a:noFill/>
        </p:spPr>
        <p:txBody>
          <a:bodyPr wrap="square" rtlCol="0">
            <a:spAutoFit/>
          </a:bodyPr>
          <a:lstStyle/>
          <a:p>
            <a:r>
              <a:rPr lang="en-US" sz="2400">
                <a:solidFill>
                  <a:srgbClr val="7030A0"/>
                </a:solidFill>
                <a:latin typeface="Helvetica" pitchFamily="2" charset="0"/>
                <a:cs typeface="Arial"/>
              </a:rPr>
              <a:t>And the rest of the world?</a:t>
            </a:r>
          </a:p>
          <a:p>
            <a:endParaRPr lang="en-US" sz="3200">
              <a:solidFill>
                <a:srgbClr val="7030A0"/>
              </a:solidFill>
              <a:latin typeface="Helvetica" pitchFamily="2" charset="0"/>
              <a:cs typeface="Arial"/>
            </a:endParaRPr>
          </a:p>
        </p:txBody>
      </p:sp>
      <p:pic>
        <p:nvPicPr>
          <p:cNvPr id="10" name="Picture 9" descr="Qr code&#10;&#10;Description automatically generated">
            <a:extLst>
              <a:ext uri="{FF2B5EF4-FFF2-40B4-BE49-F238E27FC236}">
                <a16:creationId xmlns:a16="http://schemas.microsoft.com/office/drawing/2014/main" id="{8F464297-4834-4F69-99A2-75F86171EE8B}"/>
              </a:ext>
            </a:extLst>
          </p:cNvPr>
          <p:cNvPicPr>
            <a:picLocks noChangeAspect="1"/>
          </p:cNvPicPr>
          <p:nvPr>
            <p:custDataLst>
              <p:tags r:id="rId3"/>
            </p:custDataLst>
          </p:nvPr>
        </p:nvPicPr>
        <p:blipFill rotWithShape="1">
          <a:blip r:embed="rId7"/>
          <a:srcRect t="1684" b="2781"/>
          <a:stretch/>
        </p:blipFill>
        <p:spPr>
          <a:xfrm>
            <a:off x="6980" y="1557559"/>
            <a:ext cx="3476116" cy="3168559"/>
          </a:xfrm>
          <a:prstGeom prst="rect">
            <a:avLst/>
          </a:prstGeom>
          <a:ln w="12700">
            <a:solidFill>
              <a:schemeClr val="accent1"/>
            </a:solidFill>
          </a:ln>
        </p:spPr>
      </p:pic>
      <p:graphicFrame>
        <p:nvGraphicFramePr>
          <p:cNvPr id="11" name="Table 2">
            <a:extLst>
              <a:ext uri="{FF2B5EF4-FFF2-40B4-BE49-F238E27FC236}">
                <a16:creationId xmlns:a16="http://schemas.microsoft.com/office/drawing/2014/main" id="{B52696A9-2325-4130-98C5-4AF136A50449}"/>
              </a:ext>
            </a:extLst>
          </p:cNvPr>
          <p:cNvGraphicFramePr>
            <a:graphicFrameLocks noGrp="1"/>
          </p:cNvGraphicFramePr>
          <p:nvPr>
            <p:custDataLst>
              <p:tags r:id="rId4"/>
            </p:custDataLst>
            <p:extLst>
              <p:ext uri="{D42A27DB-BD31-4B8C-83A1-F6EECF244321}">
                <p14:modId xmlns:p14="http://schemas.microsoft.com/office/powerpoint/2010/main" val="2503317193"/>
              </p:ext>
            </p:extLst>
          </p:nvPr>
        </p:nvGraphicFramePr>
        <p:xfrm>
          <a:off x="4572000" y="1810389"/>
          <a:ext cx="3972912" cy="2655915"/>
        </p:xfrm>
        <a:graphic>
          <a:graphicData uri="http://schemas.openxmlformats.org/drawingml/2006/table">
            <a:tbl>
              <a:tblPr firstRow="1" firstCol="1" bandRow="1">
                <a:tableStyleId>{21E4AEA4-8DFA-4A89-87EB-49C32662AFE0}</a:tableStyleId>
              </a:tblPr>
              <a:tblGrid>
                <a:gridCol w="1986456">
                  <a:extLst>
                    <a:ext uri="{9D8B030D-6E8A-4147-A177-3AD203B41FA5}">
                      <a16:colId xmlns:a16="http://schemas.microsoft.com/office/drawing/2014/main" val="2555557491"/>
                    </a:ext>
                  </a:extLst>
                </a:gridCol>
                <a:gridCol w="1986456">
                  <a:extLst>
                    <a:ext uri="{9D8B030D-6E8A-4147-A177-3AD203B41FA5}">
                      <a16:colId xmlns:a16="http://schemas.microsoft.com/office/drawing/2014/main" val="331159357"/>
                    </a:ext>
                  </a:extLst>
                </a:gridCol>
              </a:tblGrid>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t>Country</a:t>
                      </a:r>
                    </a:p>
                  </a:txBody>
                  <a:tcPr anchor="ctr"/>
                </a:tc>
                <a:tc>
                  <a:txBody>
                    <a:bodyPr/>
                    <a:lstStyle/>
                    <a:p>
                      <a:pPr algn="ctr"/>
                      <a:r>
                        <a:rPr lang="en-US"/>
                        <a:t>Certificate name</a:t>
                      </a:r>
                      <a:endParaRPr lang="en-BE"/>
                    </a:p>
                  </a:txBody>
                  <a:tcPr anchor="ctr"/>
                </a:tc>
                <a:extLst>
                  <a:ext uri="{0D108BD9-81ED-4DB2-BD59-A6C34878D82A}">
                    <a16:rowId xmlns:a16="http://schemas.microsoft.com/office/drawing/2014/main" val="2226489969"/>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UK</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NHS Covid Pass</a:t>
                      </a:r>
                    </a:p>
                  </a:txBody>
                  <a:tcPr anchor="ctr">
                    <a:solidFill>
                      <a:schemeClr val="accent2">
                        <a:lumMod val="20000"/>
                        <a:lumOff val="80000"/>
                      </a:schemeClr>
                    </a:solidFill>
                  </a:tcPr>
                </a:tc>
                <a:extLst>
                  <a:ext uri="{0D108BD9-81ED-4DB2-BD59-A6C34878D82A}">
                    <a16:rowId xmlns:a16="http://schemas.microsoft.com/office/drawing/2014/main" val="212318967"/>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Switzerland</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Covid Certificate</a:t>
                      </a:r>
                    </a:p>
                  </a:txBody>
                  <a:tcPr anchor="ctr">
                    <a:solidFill>
                      <a:schemeClr val="accent2">
                        <a:lumMod val="20000"/>
                        <a:lumOff val="80000"/>
                      </a:schemeClr>
                    </a:solidFill>
                  </a:tcPr>
                </a:tc>
                <a:extLst>
                  <a:ext uri="{0D108BD9-81ED-4DB2-BD59-A6C34878D82A}">
                    <a16:rowId xmlns:a16="http://schemas.microsoft.com/office/drawing/2014/main" val="925122870"/>
                  </a:ext>
                </a:extLst>
              </a:tr>
              <a:tr h="2463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Israel</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rgbClr val="E7E6F4"/>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mn-lt"/>
                          <a:ea typeface="+mn-ea"/>
                          <a:cs typeface="+mn-cs"/>
                        </a:rPr>
                        <a:t>Green Pass</a:t>
                      </a:r>
                    </a:p>
                  </a:txBody>
                  <a:tcPr anchor="ctr">
                    <a:solidFill>
                      <a:srgbClr val="E7E6F4"/>
                    </a:solidFill>
                  </a:tcPr>
                </a:tc>
                <a:extLst>
                  <a:ext uri="{0D108BD9-81ED-4DB2-BD59-A6C34878D82A}">
                    <a16:rowId xmlns:a16="http://schemas.microsoft.com/office/drawing/2014/main" val="635143750"/>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China</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algn="ctr"/>
                      <a:r>
                        <a:rPr lang="en-US"/>
                        <a:t>Virus Passport</a:t>
                      </a:r>
                    </a:p>
                  </a:txBody>
                  <a:tcPr anchor="ctr">
                    <a:solidFill>
                      <a:schemeClr val="accent2">
                        <a:lumMod val="20000"/>
                        <a:lumOff val="80000"/>
                      </a:schemeClr>
                    </a:solidFill>
                  </a:tcPr>
                </a:tc>
                <a:extLst>
                  <a:ext uri="{0D108BD9-81ED-4DB2-BD59-A6C34878D82A}">
                    <a16:rowId xmlns:a16="http://schemas.microsoft.com/office/drawing/2014/main" val="560187771"/>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US</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ea typeface="Calibri" panose="020F0502020204030204" pitchFamily="34" charset="0"/>
                          <a:cs typeface="Arial" panose="020B0604020202020204" pitchFamily="34" charset="0"/>
                        </a:rPr>
                        <a:t>Federal Covid Vaccination Passports</a:t>
                      </a:r>
                    </a:p>
                  </a:txBody>
                  <a:tcPr anchor="ctr">
                    <a:solidFill>
                      <a:schemeClr val="accent2">
                        <a:lumMod val="20000"/>
                        <a:lumOff val="80000"/>
                      </a:schemeClr>
                    </a:solidFill>
                  </a:tcPr>
                </a:tc>
                <a:extLst>
                  <a:ext uri="{0D108BD9-81ED-4DB2-BD59-A6C34878D82A}">
                    <a16:rowId xmlns:a16="http://schemas.microsoft.com/office/drawing/2014/main" val="1151929633"/>
                  </a:ext>
                </a:extLst>
              </a:tr>
              <a:tr h="43572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Australia</a:t>
                      </a:r>
                      <a:endParaRPr kumimoji="0" lang="en-BE" sz="1350" b="0" i="0" u="none" strike="noStrike" kern="1200" cap="none" spc="0" normalizeH="0" baseline="0" noProof="0">
                        <a:ln>
                          <a:noFill/>
                        </a:ln>
                        <a:solidFill>
                          <a:prstClr val="black"/>
                        </a:solidFill>
                        <a:effectLst/>
                        <a:uLnTx/>
                        <a:uFillTx/>
                        <a:latin typeface="Calibri" panose="020F0502020204030204"/>
                        <a:ea typeface="+mn-ea"/>
                        <a:cs typeface="+mn-cs"/>
                      </a:endParaRPr>
                    </a:p>
                  </a:txBody>
                  <a:tcPr anchor="ctr">
                    <a:solidFill>
                      <a:schemeClr val="accent2">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ea typeface="Calibri" panose="020F0502020204030204" pitchFamily="34" charset="0"/>
                          <a:cs typeface="Arial" panose="020B0604020202020204" pitchFamily="34" charset="0"/>
                        </a:rPr>
                        <a:t>G2G Pass</a:t>
                      </a:r>
                    </a:p>
                  </a:txBody>
                  <a:tcPr anchor="ctr">
                    <a:solidFill>
                      <a:schemeClr val="accent2">
                        <a:lumMod val="20000"/>
                        <a:lumOff val="80000"/>
                      </a:schemeClr>
                    </a:solidFill>
                  </a:tcPr>
                </a:tc>
                <a:extLst>
                  <a:ext uri="{0D108BD9-81ED-4DB2-BD59-A6C34878D82A}">
                    <a16:rowId xmlns:a16="http://schemas.microsoft.com/office/drawing/2014/main" val="3007977482"/>
                  </a:ext>
                </a:extLst>
              </a:tr>
            </a:tbl>
          </a:graphicData>
        </a:graphic>
      </p:graphicFrame>
    </p:spTree>
    <p:extLst>
      <p:ext uri="{BB962C8B-B14F-4D97-AF65-F5344CB8AC3E}">
        <p14:creationId xmlns:p14="http://schemas.microsoft.com/office/powerpoint/2010/main" val="780685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4" name="Shape 114"/>
          <p:cNvSpPr txBox="1">
            <a:spLocks noGrp="1"/>
          </p:cNvSpPr>
          <p:nvPr>
            <p:ph type="body" idx="2"/>
            <p:custDataLst>
              <p:tags r:id="rId1"/>
            </p:custDataLst>
          </p:nvPr>
        </p:nvSpPr>
        <p:spPr>
          <a:xfrm>
            <a:off x="3586843" y="1580838"/>
            <a:ext cx="5348084" cy="3168559"/>
          </a:xfrm>
          <a:prstGeom prst="rect">
            <a:avLst/>
          </a:prstGeom>
        </p:spPr>
        <p:txBody>
          <a:bodyPr wrap="square" lIns="91425" tIns="91425" rIns="91425" bIns="91425" anchor="t" anchorCtr="0">
            <a:noAutofit/>
          </a:bodyPr>
          <a:lstStyle/>
          <a:p>
            <a:pPr marL="0" lvl="0" indent="0">
              <a:lnSpc>
                <a:spcPct val="107000"/>
              </a:lnSpc>
              <a:buNone/>
            </a:pPr>
            <a:r>
              <a:rPr lang="en-US" sz="1800" dirty="0">
                <a:latin typeface="Calibri" panose="020F0502020204030204" pitchFamily="34" charset="0"/>
                <a:ea typeface="Calibri" panose="020F0502020204030204" pitchFamily="34" charset="0"/>
                <a:cs typeface="Arial" panose="020B0604020202020204" pitchFamily="34" charset="0"/>
              </a:rPr>
              <a:t>The EU covid pass contains identity information about its holder. The data contained in the QR code is digitally signed so it is </a:t>
            </a:r>
            <a:r>
              <a:rPr lang="en-US" sz="1800" b="1" dirty="0">
                <a:latin typeface="Calibri" panose="020F0502020204030204" pitchFamily="34" charset="0"/>
                <a:ea typeface="Calibri" panose="020F0502020204030204" pitchFamily="34" charset="0"/>
                <a:cs typeface="Arial" panose="020B0604020202020204" pitchFamily="34" charset="0"/>
              </a:rPr>
              <a:t>impossible to modify its content</a:t>
            </a:r>
            <a:r>
              <a:rPr lang="en-US" sz="1800" dirty="0">
                <a:latin typeface="Calibri" panose="020F0502020204030204" pitchFamily="34" charset="0"/>
                <a:ea typeface="Calibri" panose="020F0502020204030204" pitchFamily="34" charset="0"/>
                <a:cs typeface="Arial" panose="020B0604020202020204" pitchFamily="34" charset="0"/>
              </a:rPr>
              <a:t> without having the private certificate used to sign it.</a:t>
            </a:r>
          </a:p>
          <a:p>
            <a:pPr marL="0" lvl="0" indent="0">
              <a:lnSpc>
                <a:spcPct val="107000"/>
              </a:lnSpc>
              <a:buNone/>
            </a:pPr>
            <a:r>
              <a:rPr lang="en-US" sz="1800" dirty="0">
                <a:effectLst/>
                <a:latin typeface="Calibri" panose="020F0502020204030204" pitchFamily="34" charset="0"/>
                <a:ea typeface="Calibri" panose="020F0502020204030204" pitchFamily="34" charset="0"/>
                <a:cs typeface="Arial" panose="020B0604020202020204" pitchFamily="34" charset="0"/>
              </a:rPr>
              <a:t>However, most of the employees in charge of verifying the COVID passes status can’t check the identity of the pass holder</a:t>
            </a:r>
            <a:r>
              <a:rPr lang="en-US" sz="1800" dirty="0">
                <a:latin typeface="Calibri" panose="020F0502020204030204" pitchFamily="34" charset="0"/>
                <a:ea typeface="Calibri" panose="020F0502020204030204" pitchFamily="34" charset="0"/>
                <a:cs typeface="Arial" panose="020B0604020202020204" pitchFamily="34" charset="0"/>
              </a:rPr>
              <a:t>.</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a:latin typeface="Calibri" panose="020F0502020204030204" pitchFamily="34" charset="0"/>
                <a:ea typeface="Calibri" panose="020F0502020204030204" pitchFamily="34" charset="0"/>
                <a:cs typeface="Arial" panose="020B0604020202020204" pitchFamily="34" charset="0"/>
              </a:rPr>
              <a:t>I</a:t>
            </a:r>
            <a:r>
              <a:rPr lang="en-US" sz="1800" dirty="0">
                <a:effectLst/>
                <a:latin typeface="Calibri" panose="020F0502020204030204" pitchFamily="34" charset="0"/>
                <a:ea typeface="Calibri" panose="020F0502020204030204" pitchFamily="34" charset="0"/>
                <a:cs typeface="Arial" panose="020B0604020202020204" pitchFamily="34" charset="0"/>
              </a:rPr>
              <a:t>t is possible to abuse this situation to use the pass of someone else. It is important to keep in mind that this action is </a:t>
            </a:r>
            <a:r>
              <a:rPr lang="en-US" sz="1800" b="1" dirty="0">
                <a:effectLst/>
                <a:latin typeface="Calibri" panose="020F0502020204030204" pitchFamily="34" charset="0"/>
                <a:ea typeface="Calibri" panose="020F0502020204030204" pitchFamily="34" charset="0"/>
                <a:cs typeface="Arial" panose="020B0604020202020204" pitchFamily="34" charset="0"/>
              </a:rPr>
              <a:t>illegal</a:t>
            </a:r>
            <a:r>
              <a:rPr lang="en-US" sz="1800" dirty="0">
                <a:effectLst/>
                <a:latin typeface="Calibri" panose="020F0502020204030204" pitchFamily="34" charset="0"/>
                <a:ea typeface="Calibri" panose="020F0502020204030204" pitchFamily="34" charset="0"/>
                <a:cs typeface="Arial" panose="020B0604020202020204" pitchFamily="34" charset="0"/>
              </a:rPr>
              <a:t> and will result in legal pursuits</a:t>
            </a:r>
            <a:r>
              <a:rPr lang="en-US" sz="700" dirty="0">
                <a:effectLst/>
                <a:latin typeface="Calibri" panose="020F0502020204030204" pitchFamily="34" charset="0"/>
                <a:ea typeface="Calibri" panose="020F0502020204030204" pitchFamily="34" charset="0"/>
                <a:cs typeface="Arial" panose="020B0604020202020204" pitchFamily="34" charset="0"/>
              </a:rPr>
              <a:t>(1)</a:t>
            </a:r>
            <a:r>
              <a:rPr lang="en-US" sz="1800" dirty="0">
                <a:effectLst/>
                <a:latin typeface="Calibri" panose="020F0502020204030204" pitchFamily="34" charset="0"/>
                <a:ea typeface="Calibri" panose="020F0502020204030204" pitchFamily="34" charset="0"/>
                <a:cs typeface="Arial" panose="020B0604020202020204" pitchFamily="34" charset="0"/>
              </a:rPr>
              <a:t>.</a:t>
            </a:r>
            <a:endParaRPr lang="en-BE"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6" name="TextBox 70">
            <a:extLst>
              <a:ext uri="{FF2B5EF4-FFF2-40B4-BE49-F238E27FC236}">
                <a16:creationId xmlns:a16="http://schemas.microsoft.com/office/drawing/2014/main" id="{5E20247E-8AE2-9546-88DF-24BBEFC7E0A2}"/>
              </a:ext>
            </a:extLst>
          </p:cNvPr>
          <p:cNvSpPr txBox="1"/>
          <p:nvPr>
            <p:custDataLst>
              <p:tags r:id="rId2"/>
            </p:custDataLst>
          </p:nvPr>
        </p:nvSpPr>
        <p:spPr>
          <a:xfrm>
            <a:off x="209073" y="424362"/>
            <a:ext cx="4062780" cy="1323439"/>
          </a:xfrm>
          <a:prstGeom prst="rect">
            <a:avLst/>
          </a:prstGeom>
          <a:noFill/>
        </p:spPr>
        <p:txBody>
          <a:bodyPr wrap="square" rtlCol="0">
            <a:spAutoFit/>
          </a:bodyPr>
          <a:lstStyle/>
          <a:p>
            <a:r>
              <a:rPr lang="en-US" sz="2400">
                <a:solidFill>
                  <a:srgbClr val="7030A0"/>
                </a:solidFill>
                <a:latin typeface="Helvetica" pitchFamily="2" charset="0"/>
                <a:cs typeface="Arial"/>
              </a:rPr>
              <a:t>Is it possible to steal a COVID pass?</a:t>
            </a:r>
          </a:p>
          <a:p>
            <a:endParaRPr lang="en-US" sz="3200">
              <a:solidFill>
                <a:srgbClr val="7030A0"/>
              </a:solidFill>
              <a:latin typeface="Helvetica" pitchFamily="2" charset="0"/>
              <a:cs typeface="Arial"/>
            </a:endParaRPr>
          </a:p>
        </p:txBody>
      </p:sp>
      <p:pic>
        <p:nvPicPr>
          <p:cNvPr id="3" name="Picture 2" descr="Qr code&#10;&#10;Description automatically generated">
            <a:extLst>
              <a:ext uri="{FF2B5EF4-FFF2-40B4-BE49-F238E27FC236}">
                <a16:creationId xmlns:a16="http://schemas.microsoft.com/office/drawing/2014/main" id="{3D77C924-8ACB-4330-8CDC-607FDAA26365}"/>
              </a:ext>
            </a:extLst>
          </p:cNvPr>
          <p:cNvPicPr>
            <a:picLocks noChangeAspect="1"/>
          </p:cNvPicPr>
          <p:nvPr>
            <p:custDataLst>
              <p:tags r:id="rId3"/>
            </p:custDataLst>
          </p:nvPr>
        </p:nvPicPr>
        <p:blipFill rotWithShape="1">
          <a:blip r:embed="rId10"/>
          <a:srcRect t="1684" b="2781"/>
          <a:stretch/>
        </p:blipFill>
        <p:spPr>
          <a:xfrm>
            <a:off x="6980" y="1557559"/>
            <a:ext cx="3476116" cy="3168559"/>
          </a:xfrm>
          <a:prstGeom prst="rect">
            <a:avLst/>
          </a:prstGeom>
          <a:ln w="12700">
            <a:solidFill>
              <a:schemeClr val="accent1"/>
            </a:solidFill>
          </a:ln>
        </p:spPr>
      </p:pic>
      <p:sp>
        <p:nvSpPr>
          <p:cNvPr id="5" name="TextBox 4">
            <a:extLst>
              <a:ext uri="{FF2B5EF4-FFF2-40B4-BE49-F238E27FC236}">
                <a16:creationId xmlns:a16="http://schemas.microsoft.com/office/drawing/2014/main" id="{6818AF18-CBB6-427B-A3E2-C96167856BB9}"/>
              </a:ext>
            </a:extLst>
          </p:cNvPr>
          <p:cNvSpPr txBox="1"/>
          <p:nvPr>
            <p:custDataLst>
              <p:tags r:id="rId4"/>
            </p:custDataLst>
          </p:nvPr>
        </p:nvSpPr>
        <p:spPr>
          <a:xfrm>
            <a:off x="3483096" y="4749397"/>
            <a:ext cx="2600392" cy="307777"/>
          </a:xfrm>
          <a:prstGeom prst="rect">
            <a:avLst/>
          </a:prstGeom>
          <a:solidFill>
            <a:schemeClr val="bg1"/>
          </a:solidFill>
        </p:spPr>
        <p:txBody>
          <a:bodyPr wrap="square" rtlCol="0">
            <a:spAutoFit/>
          </a:bodyPr>
          <a:lstStyle/>
          <a:p>
            <a:r>
              <a:rPr lang="en-US" sz="700"/>
              <a:t>1: https://www.service-public.fr/particuliers/actualites/A15095</a:t>
            </a:r>
          </a:p>
          <a:p>
            <a:endParaRPr lang="en-US" sz="700"/>
          </a:p>
        </p:txBody>
      </p:sp>
      <p:sp>
        <p:nvSpPr>
          <p:cNvPr id="2" name="TextBox 1">
            <a:extLst>
              <a:ext uri="{FF2B5EF4-FFF2-40B4-BE49-F238E27FC236}">
                <a16:creationId xmlns:a16="http://schemas.microsoft.com/office/drawing/2014/main" id="{3E2B16BF-D90E-4CAB-9297-C4D120D86C1A}"/>
              </a:ext>
            </a:extLst>
          </p:cNvPr>
          <p:cNvSpPr txBox="1"/>
          <p:nvPr>
            <p:custDataLst>
              <p:tags r:id="rId5"/>
            </p:custDataLst>
          </p:nvPr>
        </p:nvSpPr>
        <p:spPr>
          <a:xfrm>
            <a:off x="3483096" y="3722096"/>
            <a:ext cx="4624469" cy="677108"/>
          </a:xfrm>
          <a:prstGeom prst="rect">
            <a:avLst/>
          </a:prstGeom>
          <a:noFill/>
        </p:spPr>
        <p:txBody>
          <a:bodyPr wrap="square" rtlCol="0">
            <a:spAutoFit/>
          </a:bodyPr>
          <a:lstStyle/>
          <a:p>
            <a:r>
              <a:rPr lang="fr-FR" sz="1800" kern="1200" dirty="0">
                <a:solidFill>
                  <a:schemeClr val="tx1"/>
                </a:solidFill>
                <a:latin typeface="Calibri" panose="020F0502020204030204" pitchFamily="34" charset="0"/>
                <a:cs typeface="Arial" panose="020B0604020202020204" pitchFamily="34" charset="0"/>
              </a:rPr>
              <a:t>LU: 3 </a:t>
            </a:r>
            <a:r>
              <a:rPr lang="fr-FR" sz="1800" kern="1200" dirty="0" err="1">
                <a:solidFill>
                  <a:schemeClr val="tx1"/>
                </a:solidFill>
                <a:latin typeface="Calibri" panose="020F0502020204030204" pitchFamily="34" charset="0"/>
                <a:cs typeface="Arial" panose="020B0604020202020204" pitchFamily="34" charset="0"/>
              </a:rPr>
              <a:t>years</a:t>
            </a:r>
            <a:r>
              <a:rPr lang="fr-FR" sz="1800" kern="1200" dirty="0">
                <a:solidFill>
                  <a:schemeClr val="tx1"/>
                </a:solidFill>
                <a:latin typeface="Calibri" panose="020F0502020204030204" pitchFamily="34" charset="0"/>
                <a:cs typeface="Arial" panose="020B0604020202020204" pitchFamily="34" charset="0"/>
              </a:rPr>
              <a:t> of prison and a 45 000 euros fine for </a:t>
            </a:r>
            <a:r>
              <a:rPr lang="en-US" sz="1800" kern="1200" dirty="0">
                <a:solidFill>
                  <a:schemeClr val="tx1"/>
                </a:solidFill>
                <a:latin typeface="Calibri" panose="020F0502020204030204" pitchFamily="34" charset="0"/>
                <a:cs typeface="Arial" panose="020B0604020202020204" pitchFamily="34" charset="0"/>
              </a:rPr>
              <a:t>forgery and use of forgeries</a:t>
            </a:r>
            <a:r>
              <a:rPr lang="fr-FR" sz="2000" kern="1200" dirty="0">
                <a:solidFill>
                  <a:schemeClr val="tx1"/>
                </a:solidFill>
                <a:latin typeface="Calibri" panose="020F0502020204030204" pitchFamily="34" charset="0"/>
                <a:cs typeface="Arial" panose="020B0604020202020204" pitchFamily="34" charset="0"/>
              </a:rPr>
              <a:t>. </a:t>
            </a:r>
            <a:r>
              <a:rPr lang="fr-FR" sz="700" kern="1200" dirty="0">
                <a:solidFill>
                  <a:schemeClr val="tx1"/>
                </a:solidFill>
                <a:latin typeface="Calibri" panose="020F0502020204030204" pitchFamily="34" charset="0"/>
                <a:cs typeface="Arial" panose="020B0604020202020204" pitchFamily="34" charset="0"/>
              </a:rPr>
              <a:t>(2) </a:t>
            </a:r>
            <a:endParaRPr lang="en-BE" sz="1800" kern="1200" dirty="0">
              <a:solidFill>
                <a:schemeClr val="tx1"/>
              </a:solidFill>
              <a:latin typeface="Calibri" panose="020F0502020204030204" pitchFamily="34" charset="0"/>
              <a:cs typeface="Arial" panose="020B0604020202020204" pitchFamily="34" charset="0"/>
            </a:endParaRPr>
          </a:p>
        </p:txBody>
      </p:sp>
      <p:pic>
        <p:nvPicPr>
          <p:cNvPr id="8" name="Picture 7" descr="A picture containing text&#10;&#10;Description automatically generated">
            <a:extLst>
              <a:ext uri="{FF2B5EF4-FFF2-40B4-BE49-F238E27FC236}">
                <a16:creationId xmlns:a16="http://schemas.microsoft.com/office/drawing/2014/main" id="{B998C903-BC62-4FF1-BD61-1421B3E22084}"/>
              </a:ext>
            </a:extLst>
          </p:cNvPr>
          <p:cNvPicPr>
            <a:picLocks noChangeAspect="1"/>
          </p:cNvPicPr>
          <p:nvPr>
            <p:custDataLst>
              <p:tags r:id="rId6"/>
            </p:custDataLst>
          </p:nvPr>
        </p:nvPicPr>
        <p:blipFill>
          <a:blip r:embed="rId11"/>
          <a:stretch>
            <a:fillRect/>
          </a:stretch>
        </p:blipFill>
        <p:spPr>
          <a:xfrm>
            <a:off x="3618956" y="1663850"/>
            <a:ext cx="4116511" cy="1962162"/>
          </a:xfrm>
          <a:prstGeom prst="rect">
            <a:avLst/>
          </a:prstGeom>
        </p:spPr>
      </p:pic>
      <p:sp>
        <p:nvSpPr>
          <p:cNvPr id="13" name="TextBox 12">
            <a:extLst>
              <a:ext uri="{FF2B5EF4-FFF2-40B4-BE49-F238E27FC236}">
                <a16:creationId xmlns:a16="http://schemas.microsoft.com/office/drawing/2014/main" id="{ECB5F9D2-5E2E-48F3-A835-C287D53FD216}"/>
              </a:ext>
            </a:extLst>
          </p:cNvPr>
          <p:cNvSpPr txBox="1"/>
          <p:nvPr>
            <p:custDataLst>
              <p:tags r:id="rId7"/>
            </p:custDataLst>
          </p:nvPr>
        </p:nvSpPr>
        <p:spPr>
          <a:xfrm>
            <a:off x="3483096" y="4918423"/>
            <a:ext cx="4581144" cy="200055"/>
          </a:xfrm>
          <a:prstGeom prst="rect">
            <a:avLst/>
          </a:prstGeom>
          <a:solidFill>
            <a:schemeClr val="bg1"/>
          </a:solidFill>
        </p:spPr>
        <p:txBody>
          <a:bodyPr wrap="square">
            <a:spAutoFit/>
          </a:bodyPr>
          <a:lstStyle/>
          <a:p>
            <a:r>
              <a:rPr lang="en-US" sz="700"/>
              <a:t>2: http://www.lessentiel.lu/fr/corona/story/il-achete-un-faux-pass-sanitaire-300-euros-15498048 </a:t>
            </a:r>
          </a:p>
        </p:txBody>
      </p:sp>
    </p:spTree>
    <p:extLst>
      <p:ext uri="{BB962C8B-B14F-4D97-AF65-F5344CB8AC3E}">
        <p14:creationId xmlns:p14="http://schemas.microsoft.com/office/powerpoint/2010/main" val="3500073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14">
                                            <p:txEl>
                                              <p:pRg st="0" end="0"/>
                                            </p:txEl>
                                          </p:spTgt>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114">
                                            <p:txEl>
                                              <p:pRg st="1" end="1"/>
                                            </p:txEl>
                                          </p:spTgt>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uiExpand="1" build="p"/>
      <p:bldP spid="114" grpId="1" uiExpand="1" build="p"/>
      <p:bldP spid="2" grpId="0" uiExpand="1"/>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4" name="Shape 114"/>
          <p:cNvSpPr txBox="1">
            <a:spLocks noGrp="1"/>
          </p:cNvSpPr>
          <p:nvPr>
            <p:ph type="body" idx="2"/>
            <p:custDataLst>
              <p:tags r:id="rId1"/>
            </p:custDataLst>
          </p:nvPr>
        </p:nvSpPr>
        <p:spPr>
          <a:xfrm>
            <a:off x="3826383" y="1493742"/>
            <a:ext cx="4919747" cy="3296191"/>
          </a:xfrm>
          <a:prstGeom prst="rect">
            <a:avLst/>
          </a:prstGeom>
        </p:spPr>
        <p:txBody>
          <a:bodyPr wrap="square" lIns="91425" tIns="91425" rIns="91425" bIns="91425" anchor="t" anchorCtr="0">
            <a:noAutofit/>
          </a:bodyPr>
          <a:lstStyle/>
          <a:p>
            <a:pPr marL="0" lvl="0" indent="0">
              <a:lnSpc>
                <a:spcPct val="107000"/>
              </a:lnSpc>
              <a:buNone/>
            </a:pPr>
            <a:r>
              <a:rPr lang="en-US" sz="1800" dirty="0">
                <a:effectLst/>
                <a:latin typeface="Calibri" panose="020F0502020204030204" pitchFamily="34" charset="0"/>
                <a:ea typeface="Calibri" panose="020F0502020204030204" pitchFamily="34" charset="0"/>
                <a:cs typeface="Arial" panose="020B0604020202020204" pitchFamily="34" charset="0"/>
              </a:rPr>
              <a:t>Since the data contained in the COVID certificates are </a:t>
            </a:r>
            <a:r>
              <a:rPr lang="en-US" sz="1800" b="1" dirty="0">
                <a:effectLst/>
                <a:latin typeface="Calibri" panose="020F0502020204030204" pitchFamily="34" charset="0"/>
                <a:ea typeface="Calibri" panose="020F0502020204030204" pitchFamily="34" charset="0"/>
                <a:cs typeface="Arial" panose="020B0604020202020204" pitchFamily="34" charset="0"/>
              </a:rPr>
              <a:t>not encrypted</a:t>
            </a:r>
            <a:r>
              <a:rPr lang="en-US" sz="1800" dirty="0">
                <a:effectLst/>
                <a:latin typeface="Calibri" panose="020F0502020204030204" pitchFamily="34" charset="0"/>
                <a:ea typeface="Calibri" panose="020F0502020204030204" pitchFamily="34" charset="0"/>
                <a:cs typeface="Arial" panose="020B0604020202020204" pitchFamily="34" charset="0"/>
              </a:rPr>
              <a:t>, a person having access to your certificate has access to all the data mentioned previously.</a:t>
            </a:r>
          </a:p>
          <a:p>
            <a:pPr marL="0" lvl="0" indent="0">
              <a:lnSpc>
                <a:spcPct val="107000"/>
              </a:lnSpc>
              <a:buNone/>
            </a:pPr>
            <a:r>
              <a:rPr lang="en-US" sz="1800" dirty="0">
                <a:effectLst/>
                <a:latin typeface="Calibri" panose="020F0502020204030204" pitchFamily="34" charset="0"/>
                <a:ea typeface="Calibri" panose="020F0502020204030204" pitchFamily="34" charset="0"/>
                <a:cs typeface="Arial" panose="020B0604020202020204" pitchFamily="34" charset="0"/>
              </a:rPr>
              <a:t>Most information are necessary to make the checking of the certificate doable offline, but it allows to deduce certain information: If you received the Pfizer vaccine and you only needed one dose, that means that you already had the COVID.</a:t>
            </a:r>
            <a:endParaRPr lang="en-BE"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6" name="TextBox 70">
            <a:extLst>
              <a:ext uri="{FF2B5EF4-FFF2-40B4-BE49-F238E27FC236}">
                <a16:creationId xmlns:a16="http://schemas.microsoft.com/office/drawing/2014/main" id="{5E20247E-8AE2-9546-88DF-24BBEFC7E0A2}"/>
              </a:ext>
            </a:extLst>
          </p:cNvPr>
          <p:cNvSpPr txBox="1"/>
          <p:nvPr>
            <p:custDataLst>
              <p:tags r:id="rId2"/>
            </p:custDataLst>
          </p:nvPr>
        </p:nvSpPr>
        <p:spPr>
          <a:xfrm>
            <a:off x="209073" y="228417"/>
            <a:ext cx="4062780" cy="1692771"/>
          </a:xfrm>
          <a:prstGeom prst="rect">
            <a:avLst/>
          </a:prstGeom>
          <a:noFill/>
        </p:spPr>
        <p:txBody>
          <a:bodyPr wrap="square" rtlCol="0">
            <a:spAutoFit/>
          </a:bodyPr>
          <a:lstStyle/>
          <a:p>
            <a:r>
              <a:rPr lang="en-US" sz="2400" dirty="0">
                <a:solidFill>
                  <a:srgbClr val="7030A0"/>
                </a:solidFill>
                <a:latin typeface="Helvetica" pitchFamily="2" charset="0"/>
                <a:cs typeface="Arial"/>
              </a:rPr>
              <a:t>Someone has a picture of my COVID certificate, what does it mean for me?</a:t>
            </a:r>
          </a:p>
          <a:p>
            <a:endParaRPr lang="en-US" sz="3200" dirty="0">
              <a:solidFill>
                <a:srgbClr val="7030A0"/>
              </a:solidFill>
              <a:latin typeface="Helvetica" pitchFamily="2" charset="0"/>
              <a:cs typeface="Arial"/>
            </a:endParaRPr>
          </a:p>
        </p:txBody>
      </p:sp>
      <p:pic>
        <p:nvPicPr>
          <p:cNvPr id="3" name="Picture 2" descr="Qr code&#10;&#10;Description automatically generated">
            <a:extLst>
              <a:ext uri="{FF2B5EF4-FFF2-40B4-BE49-F238E27FC236}">
                <a16:creationId xmlns:a16="http://schemas.microsoft.com/office/drawing/2014/main" id="{3D77C924-8ACB-4330-8CDC-607FDAA26365}"/>
              </a:ext>
            </a:extLst>
          </p:cNvPr>
          <p:cNvPicPr>
            <a:picLocks noChangeAspect="1"/>
          </p:cNvPicPr>
          <p:nvPr>
            <p:custDataLst>
              <p:tags r:id="rId3"/>
            </p:custDataLst>
          </p:nvPr>
        </p:nvPicPr>
        <p:blipFill rotWithShape="1">
          <a:blip r:embed="rId6"/>
          <a:srcRect t="1684" b="2781"/>
          <a:stretch/>
        </p:blipFill>
        <p:spPr>
          <a:xfrm>
            <a:off x="6980" y="1557559"/>
            <a:ext cx="3476116" cy="3168559"/>
          </a:xfrm>
          <a:prstGeom prst="rect">
            <a:avLst/>
          </a:prstGeom>
          <a:ln w="12700">
            <a:solidFill>
              <a:schemeClr val="accent1"/>
            </a:solidFill>
          </a:ln>
        </p:spPr>
      </p:pic>
    </p:spTree>
    <p:extLst>
      <p:ext uri="{BB962C8B-B14F-4D97-AF65-F5344CB8AC3E}">
        <p14:creationId xmlns:p14="http://schemas.microsoft.com/office/powerpoint/2010/main" val="21665283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70">
            <a:extLst>
              <a:ext uri="{FF2B5EF4-FFF2-40B4-BE49-F238E27FC236}">
                <a16:creationId xmlns:a16="http://schemas.microsoft.com/office/drawing/2014/main" id="{23258FC2-8438-4CBA-AD6E-45B30001F109}"/>
              </a:ext>
            </a:extLst>
          </p:cNvPr>
          <p:cNvSpPr txBox="1"/>
          <p:nvPr>
            <p:custDataLst>
              <p:tags r:id="rId1"/>
            </p:custDataLst>
          </p:nvPr>
        </p:nvSpPr>
        <p:spPr>
          <a:xfrm>
            <a:off x="209072" y="424362"/>
            <a:ext cx="5532875" cy="461665"/>
          </a:xfrm>
          <a:prstGeom prst="rect">
            <a:avLst/>
          </a:prstGeom>
          <a:noFill/>
        </p:spPr>
        <p:txBody>
          <a:bodyPr wrap="square" rtlCol="0">
            <a:spAutoFit/>
          </a:bodyPr>
          <a:lstStyle/>
          <a:p>
            <a:r>
              <a:rPr lang="en-US" sz="2400">
                <a:solidFill>
                  <a:srgbClr val="7030A0"/>
                </a:solidFill>
                <a:latin typeface="Helvetica" pitchFamily="2" charset="0"/>
              </a:rPr>
              <a:t>Editing a COVID certificate</a:t>
            </a:r>
            <a:endParaRPr lang="en-US" sz="2400">
              <a:solidFill>
                <a:srgbClr val="7030A0"/>
              </a:solidFill>
              <a:latin typeface="Helvetica" pitchFamily="2" charset="0"/>
              <a:cs typeface="Arial"/>
            </a:endParaRPr>
          </a:p>
        </p:txBody>
      </p:sp>
      <p:pic>
        <p:nvPicPr>
          <p:cNvPr id="8" name="Picture 7">
            <a:extLst>
              <a:ext uri="{FF2B5EF4-FFF2-40B4-BE49-F238E27FC236}">
                <a16:creationId xmlns:a16="http://schemas.microsoft.com/office/drawing/2014/main" id="{2F792D82-EB44-4253-96ED-91D6E31DB0B8}"/>
              </a:ext>
            </a:extLst>
          </p:cNvPr>
          <p:cNvPicPr>
            <a:picLocks noChangeAspect="1"/>
          </p:cNvPicPr>
          <p:nvPr>
            <p:custDataLst>
              <p:tags r:id="rId2"/>
            </p:custDataLst>
          </p:nvPr>
        </p:nvPicPr>
        <p:blipFill>
          <a:blip r:embed="rId5"/>
          <a:stretch>
            <a:fillRect/>
          </a:stretch>
        </p:blipFill>
        <p:spPr>
          <a:xfrm>
            <a:off x="2139329" y="1621596"/>
            <a:ext cx="4865342" cy="2968422"/>
          </a:xfrm>
          <a:prstGeom prst="rect">
            <a:avLst/>
          </a:prstGeom>
        </p:spPr>
      </p:pic>
    </p:spTree>
    <p:extLst>
      <p:ext uri="{BB962C8B-B14F-4D97-AF65-F5344CB8AC3E}">
        <p14:creationId xmlns:p14="http://schemas.microsoft.com/office/powerpoint/2010/main" val="3534197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70">
            <a:extLst>
              <a:ext uri="{FF2B5EF4-FFF2-40B4-BE49-F238E27FC236}">
                <a16:creationId xmlns:a16="http://schemas.microsoft.com/office/drawing/2014/main" id="{23258FC2-8438-4CBA-AD6E-45B30001F109}"/>
              </a:ext>
            </a:extLst>
          </p:cNvPr>
          <p:cNvSpPr txBox="1"/>
          <p:nvPr>
            <p:custDataLst>
              <p:tags r:id="rId1"/>
            </p:custDataLst>
          </p:nvPr>
        </p:nvSpPr>
        <p:spPr>
          <a:xfrm>
            <a:off x="209072" y="424362"/>
            <a:ext cx="5532875" cy="461665"/>
          </a:xfrm>
          <a:prstGeom prst="rect">
            <a:avLst/>
          </a:prstGeom>
          <a:noFill/>
        </p:spPr>
        <p:txBody>
          <a:bodyPr wrap="square" rtlCol="0">
            <a:spAutoFit/>
          </a:bodyPr>
          <a:lstStyle/>
          <a:p>
            <a:r>
              <a:rPr lang="en-US" sz="2400">
                <a:solidFill>
                  <a:srgbClr val="7030A0"/>
                </a:solidFill>
                <a:latin typeface="Helvetica" pitchFamily="2" charset="0"/>
              </a:rPr>
              <a:t>Editing a COVID certificate</a:t>
            </a:r>
            <a:endParaRPr lang="en-US" sz="2400">
              <a:solidFill>
                <a:srgbClr val="7030A0"/>
              </a:solidFill>
              <a:latin typeface="Helvetica" pitchFamily="2" charset="0"/>
              <a:cs typeface="Arial"/>
            </a:endParaRPr>
          </a:p>
        </p:txBody>
      </p:sp>
      <p:pic>
        <p:nvPicPr>
          <p:cNvPr id="10" name="Picture 9" descr="A collage of two people&#10;&#10;Description automatically generated with medium confidence">
            <a:extLst>
              <a:ext uri="{FF2B5EF4-FFF2-40B4-BE49-F238E27FC236}">
                <a16:creationId xmlns:a16="http://schemas.microsoft.com/office/drawing/2014/main" id="{0EDA1C90-9AD9-48F0-AFC6-75A4B41AFA33}"/>
              </a:ext>
            </a:extLst>
          </p:cNvPr>
          <p:cNvPicPr>
            <a:picLocks noChangeAspect="1"/>
          </p:cNvPicPr>
          <p:nvPr>
            <p:custDataLst>
              <p:tags r:id="rId2"/>
            </p:custDataLst>
          </p:nvPr>
        </p:nvPicPr>
        <p:blipFill>
          <a:blip r:embed="rId5"/>
          <a:stretch>
            <a:fillRect/>
          </a:stretch>
        </p:blipFill>
        <p:spPr>
          <a:xfrm>
            <a:off x="1841631" y="886027"/>
            <a:ext cx="5460738" cy="3985335"/>
          </a:xfrm>
          <a:prstGeom prst="rect">
            <a:avLst/>
          </a:prstGeom>
        </p:spPr>
      </p:pic>
    </p:spTree>
    <p:extLst>
      <p:ext uri="{BB962C8B-B14F-4D97-AF65-F5344CB8AC3E}">
        <p14:creationId xmlns:p14="http://schemas.microsoft.com/office/powerpoint/2010/main" val="253284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uisse-app-crash">
            <a:hlinkClick r:id="" action="ppaction://media"/>
            <a:extLst>
              <a:ext uri="{FF2B5EF4-FFF2-40B4-BE49-F238E27FC236}">
                <a16:creationId xmlns:a16="http://schemas.microsoft.com/office/drawing/2014/main" id="{81C551B4-B9F6-4BCE-8B69-D2962FCF6268}"/>
              </a:ext>
            </a:extLst>
          </p:cNvPr>
          <p:cNvPicPr>
            <a:picLocks noChangeAspect="1"/>
          </p:cNvPicPr>
          <p:nvPr>
            <a:videoFile r:link="rId2"/>
            <p:custDataLst>
              <p:tags r:id="rId3"/>
            </p:custDataLst>
            <p:extLst>
              <p:ext uri="{DAA4B4D4-6D71-4841-9C94-3DE7FCFB9230}">
                <p14:media xmlns:p14="http://schemas.microsoft.com/office/powerpoint/2010/main" r:embed="rId1"/>
              </p:ext>
            </p:extLst>
          </p:nvPr>
        </p:nvPicPr>
        <p:blipFill>
          <a:blip r:embed="rId12"/>
          <a:stretch>
            <a:fillRect/>
          </a:stretch>
        </p:blipFill>
        <p:spPr>
          <a:xfrm>
            <a:off x="187881" y="74529"/>
            <a:ext cx="2496311" cy="4437887"/>
          </a:xfrm>
          <a:prstGeom prst="rect">
            <a:avLst/>
          </a:prstGeom>
        </p:spPr>
      </p:pic>
      <p:sp>
        <p:nvSpPr>
          <p:cNvPr id="7" name="TextBox 70">
            <a:extLst>
              <a:ext uri="{FF2B5EF4-FFF2-40B4-BE49-F238E27FC236}">
                <a16:creationId xmlns:a16="http://schemas.microsoft.com/office/drawing/2014/main" id="{39DDE29E-84F9-41B1-A100-D22A8C73FF08}"/>
              </a:ext>
            </a:extLst>
          </p:cNvPr>
          <p:cNvSpPr txBox="1"/>
          <p:nvPr>
            <p:custDataLst>
              <p:tags r:id="rId4"/>
            </p:custDataLst>
          </p:nvPr>
        </p:nvSpPr>
        <p:spPr>
          <a:xfrm>
            <a:off x="4428420" y="200985"/>
            <a:ext cx="4062780" cy="1323439"/>
          </a:xfrm>
          <a:prstGeom prst="rect">
            <a:avLst/>
          </a:prstGeom>
          <a:noFill/>
        </p:spPr>
        <p:txBody>
          <a:bodyPr wrap="square" rtlCol="0">
            <a:spAutoFit/>
          </a:bodyPr>
          <a:lstStyle/>
          <a:p>
            <a:r>
              <a:rPr lang="en-US" sz="2400" dirty="0">
                <a:solidFill>
                  <a:srgbClr val="7030A0"/>
                </a:solidFill>
                <a:latin typeface="Helvetica" pitchFamily="2" charset="0"/>
                <a:cs typeface="Arial"/>
              </a:rPr>
              <a:t>Switzerland Covid application bug (patched)</a:t>
            </a:r>
          </a:p>
          <a:p>
            <a:endParaRPr lang="en-US" sz="3200" dirty="0">
              <a:solidFill>
                <a:srgbClr val="7030A0"/>
              </a:solidFill>
              <a:latin typeface="Helvetica" pitchFamily="2" charset="0"/>
              <a:cs typeface="Arial"/>
            </a:endParaRPr>
          </a:p>
        </p:txBody>
      </p:sp>
      <p:sp>
        <p:nvSpPr>
          <p:cNvPr id="8" name="TextBox 7">
            <a:extLst>
              <a:ext uri="{FF2B5EF4-FFF2-40B4-BE49-F238E27FC236}">
                <a16:creationId xmlns:a16="http://schemas.microsoft.com/office/drawing/2014/main" id="{B0ED2DD0-FFF4-4900-9058-6B9BC692F09C}"/>
              </a:ext>
            </a:extLst>
          </p:cNvPr>
          <p:cNvSpPr txBox="1"/>
          <p:nvPr>
            <p:custDataLst>
              <p:tags r:id="rId5"/>
            </p:custDataLst>
          </p:nvPr>
        </p:nvSpPr>
        <p:spPr>
          <a:xfrm>
            <a:off x="0" y="4512416"/>
            <a:ext cx="3655168" cy="215444"/>
          </a:xfrm>
          <a:prstGeom prst="rect">
            <a:avLst/>
          </a:prstGeom>
          <a:noFill/>
        </p:spPr>
        <p:txBody>
          <a:bodyPr wrap="none" rtlCol="0">
            <a:spAutoFit/>
          </a:bodyPr>
          <a:lstStyle/>
          <a:p>
            <a:r>
              <a:rPr lang="en-US" sz="700"/>
              <a:t>@rooftkfm on twitter: </a:t>
            </a:r>
            <a:r>
              <a:rPr lang="en-US" sz="800">
                <a:effectLst/>
                <a:hlinkClick r:id="rId13"/>
              </a:rPr>
              <a:t>https://twitter.com/rootkfm/status/1439676436101619712</a:t>
            </a:r>
            <a:endParaRPr lang="en-US" sz="800">
              <a:effectLst/>
            </a:endParaRPr>
          </a:p>
        </p:txBody>
      </p:sp>
      <p:sp>
        <p:nvSpPr>
          <p:cNvPr id="10" name="Shape 114">
            <a:extLst>
              <a:ext uri="{FF2B5EF4-FFF2-40B4-BE49-F238E27FC236}">
                <a16:creationId xmlns:a16="http://schemas.microsoft.com/office/drawing/2014/main" id="{B415D678-5BF6-459A-A6B8-E90E5AB007DC}"/>
              </a:ext>
            </a:extLst>
          </p:cNvPr>
          <p:cNvSpPr txBox="1">
            <a:spLocks/>
          </p:cNvSpPr>
          <p:nvPr>
            <p:custDataLst>
              <p:tags r:id="rId6"/>
            </p:custDataLst>
          </p:nvPr>
        </p:nvSpPr>
        <p:spPr>
          <a:xfrm>
            <a:off x="3111684" y="1411412"/>
            <a:ext cx="5563695" cy="646331"/>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Font typeface="Arial" panose="020B0604020202020204" pitchFamily="34" charset="0"/>
              <a:buNone/>
            </a:pPr>
            <a:r>
              <a:rPr lang="en-US" sz="1800">
                <a:latin typeface="Calibri" panose="020F0502020204030204" pitchFamily="34" charset="0"/>
                <a:ea typeface="Calibri" panose="020F0502020204030204" pitchFamily="34" charset="0"/>
                <a:cs typeface="Arial" panose="020B0604020202020204" pitchFamily="34" charset="0"/>
              </a:rPr>
              <a:t>A QR code was able to defeat the Certificate check app </a:t>
            </a:r>
          </a:p>
          <a:p>
            <a:pPr marL="0" indent="0">
              <a:lnSpc>
                <a:spcPct val="107000"/>
              </a:lnSpc>
              <a:buNone/>
            </a:pPr>
            <a:r>
              <a:rPr lang="en-US" sz="1800" b="1">
                <a:latin typeface="Calibri" panose="020F0502020204030204" pitchFamily="34" charset="0"/>
                <a:ea typeface="Calibri" panose="020F0502020204030204" pitchFamily="34" charset="0"/>
                <a:cs typeface="Arial" panose="020B0604020202020204" pitchFamily="34" charset="0"/>
              </a:rPr>
              <a:t>How?</a:t>
            </a:r>
          </a:p>
          <a:p>
            <a:pPr marL="0" indent="0">
              <a:lnSpc>
                <a:spcPct val="107000"/>
              </a:lnSpc>
              <a:buFont typeface="Arial" panose="020B0604020202020204" pitchFamily="34" charset="0"/>
              <a:buNone/>
            </a:pPr>
            <a:endParaRPr lang="en-US" sz="1800">
              <a:latin typeface="Calibri" panose="020F050202020403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A31F2C4B-1B44-4AA8-A00E-8BCCCAA6A5E7}"/>
              </a:ext>
            </a:extLst>
          </p:cNvPr>
          <p:cNvSpPr txBox="1"/>
          <p:nvPr>
            <p:custDataLst>
              <p:tags r:id="rId7"/>
            </p:custDataLst>
          </p:nvPr>
        </p:nvSpPr>
        <p:spPr>
          <a:xfrm>
            <a:off x="3054096" y="3695501"/>
            <a:ext cx="5266944" cy="369332"/>
          </a:xfrm>
          <a:prstGeom prst="rect">
            <a:avLst/>
          </a:prstGeom>
          <a:noFill/>
        </p:spPr>
        <p:txBody>
          <a:bodyPr wrap="square" rtlCol="0">
            <a:spAutoFit/>
          </a:bodyPr>
          <a:lstStyle/>
          <a:p>
            <a:r>
              <a:rPr lang="en-US" sz="1800" kern="1200">
                <a:solidFill>
                  <a:schemeClr val="tx1"/>
                </a:solidFill>
                <a:latin typeface="Calibri" panose="020F0502020204030204" pitchFamily="34" charset="0"/>
                <a:cs typeface="Arial" panose="020B0604020202020204" pitchFamily="34" charset="0"/>
              </a:rPr>
              <a:t>No error handling </a:t>
            </a:r>
            <a:r>
              <a:rPr lang="en-US" sz="1800" kern="1200">
                <a:solidFill>
                  <a:schemeClr val="tx1"/>
                </a:solidFill>
                <a:latin typeface="Calibri" panose="020F0502020204030204" pitchFamily="34" charset="0"/>
                <a:cs typeface="Arial" panose="020B0604020202020204" pitchFamily="34" charset="0"/>
                <a:sym typeface="Wingdings" panose="05000000000000000000" pitchFamily="2" charset="2"/>
              </a:rPr>
              <a:t></a:t>
            </a:r>
            <a:r>
              <a:rPr lang="en-US" sz="1800" kern="1200">
                <a:solidFill>
                  <a:schemeClr val="tx1"/>
                </a:solidFill>
                <a:latin typeface="Calibri" panose="020F0502020204030204" pitchFamily="34" charset="0"/>
                <a:cs typeface="Arial" panose="020B0604020202020204" pitchFamily="34" charset="0"/>
              </a:rPr>
              <a:t> Crash </a:t>
            </a:r>
            <a:r>
              <a:rPr lang="en-US" sz="1800" kern="1200">
                <a:solidFill>
                  <a:schemeClr val="tx1"/>
                </a:solidFill>
                <a:latin typeface="Calibri" panose="020F0502020204030204" pitchFamily="34" charset="0"/>
                <a:cs typeface="Arial" panose="020B0604020202020204" pitchFamily="34" charset="0"/>
                <a:sym typeface="Wingdings" panose="05000000000000000000" pitchFamily="2" charset="2"/>
              </a:rPr>
              <a:t> Application closing </a:t>
            </a:r>
            <a:r>
              <a:rPr lang="en-US" sz="1800" kern="1200">
                <a:solidFill>
                  <a:schemeClr val="tx1"/>
                </a:solidFill>
                <a:latin typeface="Calibri" panose="020F0502020204030204" pitchFamily="34" charset="0"/>
                <a:cs typeface="Arial" panose="020B0604020202020204" pitchFamily="34" charset="0"/>
              </a:rPr>
              <a:t>📵</a:t>
            </a:r>
            <a:endParaRPr lang="en-BE" sz="1800" kern="1200">
              <a:solidFill>
                <a:schemeClr val="tx1"/>
              </a:solidFill>
              <a:latin typeface="Calibri" panose="020F050202020403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E1C7538-0CA9-42E4-A9F4-E85013256979}"/>
              </a:ext>
            </a:extLst>
          </p:cNvPr>
          <p:cNvSpPr txBox="1"/>
          <p:nvPr>
            <p:custDataLst>
              <p:tags r:id="rId8"/>
            </p:custDataLst>
          </p:nvPr>
        </p:nvSpPr>
        <p:spPr>
          <a:xfrm>
            <a:off x="3259836" y="4081529"/>
            <a:ext cx="5563695" cy="646331"/>
          </a:xfrm>
          <a:prstGeom prst="rect">
            <a:avLst/>
          </a:prstGeom>
          <a:noFill/>
        </p:spPr>
        <p:txBody>
          <a:bodyPr wrap="square" rtlCol="0">
            <a:spAutoFit/>
          </a:bodyPr>
          <a:lstStyle/>
          <a:p>
            <a:pPr marL="285750" indent="-285750">
              <a:buFont typeface="Wingdings" panose="05000000000000000000" pitchFamily="2" charset="2"/>
              <a:buChar char="è"/>
            </a:pPr>
            <a:r>
              <a:rPr lang="en-US" sz="1800" kern="1200">
                <a:solidFill>
                  <a:schemeClr val="tx1"/>
                </a:solidFill>
                <a:latin typeface="Calibri" panose="020F0502020204030204" pitchFamily="34" charset="0"/>
                <a:cs typeface="Arial" panose="020B0604020202020204" pitchFamily="34" charset="0"/>
                <a:sym typeface="Wingdings" panose="05000000000000000000" pitchFamily="2" charset="2"/>
              </a:rPr>
              <a:t>Combined with social engineering techniques </a:t>
            </a:r>
            <a:r>
              <a:rPr lang="en-US" sz="1800" kern="1200">
                <a:solidFill>
                  <a:schemeClr val="tx1"/>
                </a:solidFill>
                <a:latin typeface="Calibri" panose="020F0502020204030204" pitchFamily="34" charset="0"/>
                <a:cs typeface="Arial" panose="020B0604020202020204" pitchFamily="34" charset="0"/>
              </a:rPr>
              <a:t>to bypass Covid certificate check</a:t>
            </a:r>
            <a:endParaRPr lang="en-BE"/>
          </a:p>
        </p:txBody>
      </p:sp>
      <p:grpSp>
        <p:nvGrpSpPr>
          <p:cNvPr id="2" name="Group 1">
            <a:extLst>
              <a:ext uri="{FF2B5EF4-FFF2-40B4-BE49-F238E27FC236}">
                <a16:creationId xmlns:a16="http://schemas.microsoft.com/office/drawing/2014/main" id="{B7454A70-DA2B-4C1F-993D-30799D66494D}"/>
              </a:ext>
            </a:extLst>
          </p:cNvPr>
          <p:cNvGrpSpPr/>
          <p:nvPr>
            <p:custDataLst>
              <p:tags r:id="rId9"/>
            </p:custDataLst>
          </p:nvPr>
        </p:nvGrpSpPr>
        <p:grpSpPr>
          <a:xfrm>
            <a:off x="3111684" y="2293472"/>
            <a:ext cx="5563695" cy="1256554"/>
            <a:chOff x="3054096" y="2287575"/>
            <a:chExt cx="5563695" cy="1256554"/>
          </a:xfrm>
        </p:grpSpPr>
        <p:pic>
          <p:nvPicPr>
            <p:cNvPr id="9" name="Picture 8">
              <a:extLst>
                <a:ext uri="{FF2B5EF4-FFF2-40B4-BE49-F238E27FC236}">
                  <a16:creationId xmlns:a16="http://schemas.microsoft.com/office/drawing/2014/main" id="{DA2DF02D-4E13-417D-8102-CD3F22C9B97F}"/>
                </a:ext>
              </a:extLst>
            </p:cNvPr>
            <p:cNvPicPr>
              <a:picLocks noChangeAspect="1"/>
            </p:cNvPicPr>
            <p:nvPr/>
          </p:nvPicPr>
          <p:blipFill>
            <a:blip r:embed="rId14"/>
            <a:stretch>
              <a:fillRect/>
            </a:stretch>
          </p:blipFill>
          <p:spPr>
            <a:xfrm>
              <a:off x="3987090" y="2924918"/>
              <a:ext cx="3153215" cy="619211"/>
            </a:xfrm>
            <a:prstGeom prst="rect">
              <a:avLst/>
            </a:prstGeom>
          </p:spPr>
        </p:pic>
        <p:sp>
          <p:nvSpPr>
            <p:cNvPr id="14" name="Shape 114">
              <a:extLst>
                <a:ext uri="{FF2B5EF4-FFF2-40B4-BE49-F238E27FC236}">
                  <a16:creationId xmlns:a16="http://schemas.microsoft.com/office/drawing/2014/main" id="{F0A5EBB4-7FD4-42DE-8184-63501C2AF76B}"/>
                </a:ext>
              </a:extLst>
            </p:cNvPr>
            <p:cNvSpPr txBox="1">
              <a:spLocks/>
            </p:cNvSpPr>
            <p:nvPr/>
          </p:nvSpPr>
          <p:spPr>
            <a:xfrm>
              <a:off x="3054096" y="2287575"/>
              <a:ext cx="5563695" cy="1025132"/>
            </a:xfrm>
            <a:prstGeom prst="rect">
              <a:avLst/>
            </a:prstGeom>
          </p:spPr>
          <p:txBody>
            <a:bodyPr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7000"/>
                </a:lnSpc>
                <a:buNone/>
              </a:pPr>
              <a:r>
                <a:rPr lang="en-US" sz="1800">
                  <a:latin typeface="Calibri" panose="020F0502020204030204" pitchFamily="34" charset="0"/>
                  <a:ea typeface="Calibri" panose="020F0502020204030204" pitchFamily="34" charset="0"/>
                  <a:cs typeface="Arial" panose="020B0604020202020204" pitchFamily="34" charset="0"/>
                </a:rPr>
                <a:t>An invalid value (too large) for a certain field caused an exception</a:t>
              </a:r>
            </a:p>
            <a:p>
              <a:pPr marL="0" indent="0">
                <a:lnSpc>
                  <a:spcPct val="107000"/>
                </a:lnSpc>
                <a:buNone/>
              </a:pPr>
              <a:r>
                <a:rPr lang="en-US" sz="1800">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endParaRPr lang="en-US" sz="1800">
                <a:latin typeface="Calibri" panose="020F0502020204030204" pitchFamily="34" charset="0"/>
                <a:ea typeface="Calibri" panose="020F0502020204030204" pitchFamily="34" charset="0"/>
                <a:cs typeface="Arial" panose="020B0604020202020204" pitchFamily="34" charset="0"/>
              </a:endParaRPr>
            </a:p>
            <a:p>
              <a:pPr marL="0" indent="0">
                <a:lnSpc>
                  <a:spcPct val="107000"/>
                </a:lnSpc>
                <a:buFont typeface="Arial" panose="020B0604020202020204" pitchFamily="34" charset="0"/>
                <a:buNone/>
              </a:pPr>
              <a:endParaRPr lang="en-US" sz="1800">
                <a:latin typeface="Calibri" panose="020F0502020204030204" pitchFamily="34" charset="0"/>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1771016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100"/>
                                  </p:stCondLst>
                                  <p:childTnLst>
                                    <p:cmd type="call" cmd="playFrom(0.0)">
                                      <p:cBhvr>
                                        <p:cTn id="6" dur="22500"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2" presetClass="mediacall" presetSubtype="0" fill="hold" nodeType="clickEffect">
                                  <p:stCondLst>
                                    <p:cond delay="0"/>
                                  </p:stCondLst>
                                  <p:childTnLst>
                                    <p:cmd type="call" cmd="togglePause">
                                      <p:cBhvr>
                                        <p:cTn id="10" dur="1" fill="hold"/>
                                        <p:tgtEl>
                                          <p:spTgt spid="5"/>
                                        </p:tgtEl>
                                      </p:cBhvr>
                                    </p:cmd>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7" fill="hold" display="0">
                  <p:stCondLst>
                    <p:cond delay="indefinite"/>
                  </p:stCondLst>
                </p:cTn>
                <p:tgtEl>
                  <p:spTgt spid="5"/>
                </p:tgtEl>
              </p:cMediaNode>
            </p:video>
          </p:childTnLst>
        </p:cTn>
      </p:par>
    </p:tnLst>
    <p:bldLst>
      <p:bldP spid="10" grpId="0"/>
      <p:bldP spid="11" grpId="0"/>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4" name="Shape 114"/>
          <p:cNvSpPr txBox="1">
            <a:spLocks noGrp="1"/>
          </p:cNvSpPr>
          <p:nvPr>
            <p:ph type="body" idx="2"/>
            <p:custDataLst>
              <p:tags r:id="rId1"/>
            </p:custDataLst>
          </p:nvPr>
        </p:nvSpPr>
        <p:spPr>
          <a:xfrm>
            <a:off x="3679801" y="1550578"/>
            <a:ext cx="4919747" cy="3168559"/>
          </a:xfrm>
          <a:prstGeom prst="rect">
            <a:avLst/>
          </a:prstGeom>
        </p:spPr>
        <p:txBody>
          <a:bodyPr wrap="square" lIns="91425" tIns="91425" rIns="91425" bIns="91425" anchor="t" anchorCtr="0">
            <a:noAutofit/>
          </a:bodyPr>
          <a:lstStyle/>
          <a:p>
            <a:pPr>
              <a:lnSpc>
                <a:spcPct val="110000"/>
              </a:lnSpc>
              <a:buFont typeface="Arial" panose="020B0604020202020204" pitchFamily="34" charset="0"/>
              <a:buChar char="•"/>
            </a:pPr>
            <a:r>
              <a:rPr lang="en-US" sz="1800" dirty="0">
                <a:solidFill>
                  <a:schemeClr val="accent2"/>
                </a:solidFill>
                <a:latin typeface="Helvetica" pitchFamily="2" charset="0"/>
                <a:cs typeface="Arial"/>
              </a:rPr>
              <a:t>How does the different protocols work ? </a:t>
            </a:r>
          </a:p>
          <a:p>
            <a:pPr>
              <a:lnSpc>
                <a:spcPct val="110000"/>
              </a:lnSpc>
              <a:buFont typeface="Arial" panose="020B0604020202020204" pitchFamily="34" charset="0"/>
              <a:buChar char="•"/>
            </a:pPr>
            <a:r>
              <a:rPr lang="en-US" sz="1800" dirty="0">
                <a:solidFill>
                  <a:srgbClr val="7030A0"/>
                </a:solidFill>
                <a:latin typeface="Helvetica" pitchFamily="2" charset="0"/>
                <a:cs typeface="Arial"/>
              </a:rPr>
              <a:t>Which app use which protocol ?</a:t>
            </a:r>
          </a:p>
          <a:p>
            <a:pPr>
              <a:lnSpc>
                <a:spcPct val="110000"/>
              </a:lnSpc>
              <a:buFont typeface="Arial" panose="020B0604020202020204" pitchFamily="34" charset="0"/>
              <a:buChar char="•"/>
            </a:pPr>
            <a:r>
              <a:rPr lang="en-US" sz="1800" dirty="0">
                <a:solidFill>
                  <a:schemeClr val="accent2"/>
                </a:solidFill>
                <a:latin typeface="Helvetica" pitchFamily="2" charset="0"/>
                <a:cs typeface="Arial"/>
              </a:rPr>
              <a:t>How efficient is it ? </a:t>
            </a:r>
          </a:p>
          <a:p>
            <a:pPr>
              <a:lnSpc>
                <a:spcPct val="110000"/>
              </a:lnSpc>
              <a:buFont typeface="Arial" panose="020B0604020202020204" pitchFamily="34" charset="0"/>
              <a:buChar char="•"/>
            </a:pPr>
            <a:r>
              <a:rPr lang="en-US" sz="1800" dirty="0">
                <a:solidFill>
                  <a:srgbClr val="7030A0"/>
                </a:solidFill>
                <a:latin typeface="Helvetica" pitchFamily="2" charset="0"/>
                <a:cs typeface="Arial"/>
              </a:rPr>
              <a:t>Are we being tracked ?</a:t>
            </a:r>
          </a:p>
          <a:p>
            <a:pPr>
              <a:lnSpc>
                <a:spcPct val="110000"/>
              </a:lnSpc>
              <a:buFont typeface="Arial" panose="020B0604020202020204" pitchFamily="34" charset="0"/>
              <a:buChar char="•"/>
            </a:pPr>
            <a:r>
              <a:rPr lang="en-US" sz="1800" dirty="0">
                <a:solidFill>
                  <a:schemeClr val="accent2"/>
                </a:solidFill>
                <a:latin typeface="Helvetica" pitchFamily="2" charset="0"/>
                <a:cs typeface="Arial"/>
              </a:rPr>
              <a:t>By GPS ? By the vaccine chip ? </a:t>
            </a:r>
            <a:r>
              <a:rPr lang="en-US" sz="1800" dirty="0">
                <a:solidFill>
                  <a:srgbClr val="7030A0"/>
                </a:solidFill>
                <a:latin typeface="Helvetica" pitchFamily="2" charset="0"/>
                <a:cs typeface="Arial"/>
                <a:sym typeface="Wingdings" panose="05000000000000000000" pitchFamily="2" charset="2"/>
              </a:rPr>
              <a:t></a:t>
            </a:r>
            <a:endParaRPr lang="en-US" sz="1800" dirty="0">
              <a:solidFill>
                <a:srgbClr val="7030A0"/>
              </a:solidFill>
              <a:latin typeface="Helvetica" pitchFamily="2" charset="0"/>
              <a:cs typeface="Arial"/>
            </a:endParaRPr>
          </a:p>
          <a:p>
            <a:pPr>
              <a:lnSpc>
                <a:spcPct val="110000"/>
              </a:lnSpc>
              <a:buFont typeface="Arial" panose="020B0604020202020204" pitchFamily="34" charset="0"/>
              <a:buChar char="•"/>
            </a:pPr>
            <a:r>
              <a:rPr lang="en-US" sz="1800" dirty="0">
                <a:solidFill>
                  <a:srgbClr val="7030A0"/>
                </a:solidFill>
                <a:latin typeface="Helvetica" pitchFamily="2" charset="0"/>
                <a:cs typeface="Arial"/>
              </a:rPr>
              <a:t>Is it truly anonymous ?</a:t>
            </a:r>
          </a:p>
          <a:p>
            <a:pPr>
              <a:lnSpc>
                <a:spcPct val="110000"/>
              </a:lnSpc>
              <a:buFont typeface="Arial" panose="020B0604020202020204" pitchFamily="34" charset="0"/>
              <a:buChar char="•"/>
            </a:pPr>
            <a:r>
              <a:rPr lang="en-US" sz="1800" dirty="0">
                <a:solidFill>
                  <a:schemeClr val="accent2"/>
                </a:solidFill>
                <a:latin typeface="Helvetica" pitchFamily="2" charset="0"/>
                <a:cs typeface="Arial"/>
              </a:rPr>
              <a:t>Apple/Google, custom development ? Open source or not ? </a:t>
            </a:r>
          </a:p>
          <a:p>
            <a:pPr>
              <a:lnSpc>
                <a:spcPct val="110000"/>
              </a:lnSpc>
              <a:buFont typeface="Arial" panose="020B0604020202020204" pitchFamily="34" charset="0"/>
              <a:buChar char="•"/>
            </a:pPr>
            <a:r>
              <a:rPr lang="en-US" sz="1800" dirty="0">
                <a:solidFill>
                  <a:srgbClr val="7030A0"/>
                </a:solidFill>
                <a:latin typeface="Helvetica" pitchFamily="2" charset="0"/>
                <a:cs typeface="Arial"/>
              </a:rPr>
              <a:t>What happens if there is a breach ?</a:t>
            </a:r>
          </a:p>
        </p:txBody>
      </p:sp>
      <p:sp>
        <p:nvSpPr>
          <p:cNvPr id="6" name="TextBox 70">
            <a:extLst>
              <a:ext uri="{FF2B5EF4-FFF2-40B4-BE49-F238E27FC236}">
                <a16:creationId xmlns:a16="http://schemas.microsoft.com/office/drawing/2014/main" id="{5E20247E-8AE2-9546-88DF-24BBEFC7E0A2}"/>
              </a:ext>
            </a:extLst>
          </p:cNvPr>
          <p:cNvSpPr txBox="1"/>
          <p:nvPr>
            <p:custDataLst>
              <p:tags r:id="rId2"/>
            </p:custDataLst>
          </p:nvPr>
        </p:nvSpPr>
        <p:spPr>
          <a:xfrm>
            <a:off x="209073" y="424362"/>
            <a:ext cx="4062780" cy="1323439"/>
          </a:xfrm>
          <a:prstGeom prst="rect">
            <a:avLst/>
          </a:prstGeom>
          <a:noFill/>
        </p:spPr>
        <p:txBody>
          <a:bodyPr wrap="square" rtlCol="0">
            <a:spAutoFit/>
          </a:bodyPr>
          <a:lstStyle/>
          <a:p>
            <a:r>
              <a:rPr lang="en-US" sz="2400">
                <a:solidFill>
                  <a:srgbClr val="7030A0"/>
                </a:solidFill>
                <a:latin typeface="Helvetica" pitchFamily="2" charset="0"/>
                <a:cs typeface="Arial"/>
              </a:rPr>
              <a:t>3. CONTACT TRACING APPS</a:t>
            </a:r>
          </a:p>
          <a:p>
            <a:endParaRPr lang="en-US" sz="3200">
              <a:solidFill>
                <a:srgbClr val="7030A0"/>
              </a:solidFill>
              <a:latin typeface="Helvetica" pitchFamily="2" charset="0"/>
              <a:cs typeface="Arial"/>
            </a:endParaRPr>
          </a:p>
        </p:txBody>
      </p:sp>
    </p:spTree>
    <p:extLst>
      <p:ext uri="{BB962C8B-B14F-4D97-AF65-F5344CB8AC3E}">
        <p14:creationId xmlns:p14="http://schemas.microsoft.com/office/powerpoint/2010/main" val="974436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96" name="Shape 96"/>
          <p:cNvSpPr txBox="1">
            <a:spLocks noGrp="1"/>
          </p:cNvSpPr>
          <p:nvPr>
            <p:ph type="sldNum" idx="12"/>
            <p:custDataLst>
              <p:tags r:id="rId1"/>
            </p:custDataLst>
          </p:nvPr>
        </p:nvSpPr>
        <p:spPr>
          <a:xfrm>
            <a:off x="8480584" y="4673651"/>
            <a:ext cx="548700" cy="393600"/>
          </a:xfrm>
          <a:prstGeom prst="rect">
            <a:avLst/>
          </a:prstGeom>
        </p:spPr>
        <p:txBody>
          <a:bodyPr wrap="square" lIns="91425" tIns="91425" rIns="91425" bIns="91425" anchor="ctr" anchorCtr="0">
            <a:noAutofit/>
          </a:bodyPr>
          <a:lstStyle/>
          <a:p>
            <a:pPr marL="0" lvl="0" indent="0">
              <a:spcBef>
                <a:spcPts val="0"/>
              </a:spcBef>
              <a:buNone/>
            </a:pPr>
            <a:fld id="{00000000-1234-1234-1234-123412341234}" type="slidenum">
              <a:rPr lang="en"/>
              <a:t>3</a:t>
            </a:fld>
            <a:endParaRPr lang="en"/>
          </a:p>
        </p:txBody>
      </p:sp>
      <p:sp>
        <p:nvSpPr>
          <p:cNvPr id="6" name="TextBox 5">
            <a:extLst>
              <a:ext uri="{FF2B5EF4-FFF2-40B4-BE49-F238E27FC236}">
                <a16:creationId xmlns:a16="http://schemas.microsoft.com/office/drawing/2014/main" id="{7EE9450C-08B7-6F48-B23C-288980BBF6FF}"/>
              </a:ext>
            </a:extLst>
          </p:cNvPr>
          <p:cNvSpPr txBox="1"/>
          <p:nvPr>
            <p:custDataLst>
              <p:tags r:id="rId2"/>
            </p:custDataLst>
          </p:nvPr>
        </p:nvSpPr>
        <p:spPr>
          <a:xfrm>
            <a:off x="341432" y="294427"/>
            <a:ext cx="2117462"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Agenda</a:t>
            </a:r>
          </a:p>
        </p:txBody>
      </p:sp>
      <p:sp>
        <p:nvSpPr>
          <p:cNvPr id="10" name="TextBox 23">
            <a:extLst>
              <a:ext uri="{FF2B5EF4-FFF2-40B4-BE49-F238E27FC236}">
                <a16:creationId xmlns:a16="http://schemas.microsoft.com/office/drawing/2014/main" id="{A483D0A4-E390-6C43-8705-F106C597883B}"/>
              </a:ext>
            </a:extLst>
          </p:cNvPr>
          <p:cNvSpPr txBox="1"/>
          <p:nvPr>
            <p:custDataLst>
              <p:tags r:id="rId3"/>
            </p:custDataLst>
          </p:nvPr>
        </p:nvSpPr>
        <p:spPr>
          <a:xfrm>
            <a:off x="676323" y="826458"/>
            <a:ext cx="2457781" cy="707886"/>
          </a:xfrm>
          <a:prstGeom prst="rect">
            <a:avLst/>
          </a:prstGeom>
          <a:noFill/>
        </p:spPr>
        <p:txBody>
          <a:bodyPr wrap="square" rtlCol="0">
            <a:spAutoFit/>
          </a:bodyPr>
          <a:lstStyle/>
          <a:p>
            <a:r>
              <a:rPr lang="en-US" sz="2000">
                <a:solidFill>
                  <a:srgbClr val="B5B1D9"/>
                </a:solidFill>
                <a:latin typeface="Helvetica" pitchFamily="2" charset="0"/>
                <a:cs typeface="Arial"/>
                <a:sym typeface="Arial"/>
              </a:rPr>
              <a:t>COVID applications and QR codes </a:t>
            </a:r>
          </a:p>
        </p:txBody>
      </p:sp>
      <p:sp>
        <p:nvSpPr>
          <p:cNvPr id="11" name="Espace réservé du texte 4">
            <a:extLst>
              <a:ext uri="{FF2B5EF4-FFF2-40B4-BE49-F238E27FC236}">
                <a16:creationId xmlns:a16="http://schemas.microsoft.com/office/drawing/2014/main" id="{3664D79C-4FE9-44C5-BEF5-8C9F6A93DCB9}"/>
              </a:ext>
            </a:extLst>
          </p:cNvPr>
          <p:cNvSpPr>
            <a:spLocks noGrp="1"/>
          </p:cNvSpPr>
          <p:nvPr>
            <p:ph type="body" idx="1"/>
            <p:custDataLst>
              <p:tags r:id="rId4"/>
            </p:custDataLst>
          </p:nvPr>
        </p:nvSpPr>
        <p:spPr>
          <a:xfrm>
            <a:off x="3871323" y="1534344"/>
            <a:ext cx="4813482" cy="2605200"/>
          </a:xfrm>
        </p:spPr>
        <p:txBody>
          <a:bodyPr>
            <a:normAutofit fontScale="25000" lnSpcReduction="20000"/>
          </a:bodyPr>
          <a:lstStyle/>
          <a:p>
            <a:pPr marL="0" indent="0">
              <a:lnSpc>
                <a:spcPct val="220000"/>
              </a:lnSpc>
              <a:buNone/>
            </a:pPr>
            <a:r>
              <a:rPr lang="en-US" sz="9600" b="1" dirty="0">
                <a:solidFill>
                  <a:srgbClr val="7030A0"/>
                </a:solidFill>
                <a:cs typeface="Arial"/>
                <a:sym typeface="Arial"/>
                <a:hlinkClick r:id="rId7" action="ppaction://hlinksldjump">
                  <a:extLst>
                    <a:ext uri="{A12FA001-AC4F-418D-AE19-62706E023703}">
                      <ahyp:hlinkClr xmlns:ahyp="http://schemas.microsoft.com/office/drawing/2018/hyperlinkcolor" val="tx"/>
                    </a:ext>
                  </a:extLst>
                </a:hlinkClick>
              </a:rPr>
              <a:t>1. Applications overview</a:t>
            </a:r>
          </a:p>
          <a:p>
            <a:pPr marL="0" indent="0">
              <a:lnSpc>
                <a:spcPct val="220000"/>
              </a:lnSpc>
              <a:buNone/>
            </a:pPr>
            <a:r>
              <a:rPr lang="en-US" sz="9600" b="1" dirty="0">
                <a:solidFill>
                  <a:srgbClr val="7030A0"/>
                </a:solidFill>
                <a:cs typeface="Arial"/>
                <a:sym typeface="Arial"/>
                <a:hlinkClick r:id="rId7" action="ppaction://hlinksldjump">
                  <a:extLst>
                    <a:ext uri="{A12FA001-AC4F-418D-AE19-62706E023703}">
                      <ahyp:hlinkClr xmlns:ahyp="http://schemas.microsoft.com/office/drawing/2018/hyperlinkcolor" val="tx"/>
                    </a:ext>
                  </a:extLst>
                </a:hlinkClick>
              </a:rPr>
              <a:t>2. COVID Certificates QR Codes</a:t>
            </a:r>
            <a:endParaRPr lang="en-US" sz="9600" b="1" dirty="0">
              <a:solidFill>
                <a:srgbClr val="7030A0"/>
              </a:solidFill>
              <a:cs typeface="Arial"/>
              <a:sym typeface="Arial"/>
            </a:endParaRPr>
          </a:p>
          <a:p>
            <a:pPr marL="0" indent="0">
              <a:lnSpc>
                <a:spcPct val="220000"/>
              </a:lnSpc>
              <a:buNone/>
            </a:pPr>
            <a:r>
              <a:rPr lang="en-US" sz="9600" b="1" dirty="0">
                <a:solidFill>
                  <a:srgbClr val="7030A0"/>
                </a:solidFill>
                <a:cs typeface="Arial"/>
                <a:sym typeface="Arial"/>
                <a:hlinkClick r:id="rId8" action="ppaction://hlinksldjump">
                  <a:extLst>
                    <a:ext uri="{A12FA001-AC4F-418D-AE19-62706E023703}">
                      <ahyp:hlinkClr xmlns:ahyp="http://schemas.microsoft.com/office/drawing/2018/hyperlinkcolor" val="tx"/>
                    </a:ext>
                  </a:extLst>
                </a:hlinkClick>
              </a:rPr>
              <a:t>3. Contact tracing Apps</a:t>
            </a:r>
            <a:endParaRPr lang="en-US" sz="9600" b="1" dirty="0">
              <a:solidFill>
                <a:srgbClr val="7030A0"/>
              </a:solidFill>
              <a:cs typeface="Arial"/>
              <a:sym typeface="Arial"/>
            </a:endParaRPr>
          </a:p>
          <a:p>
            <a:pPr marL="0" indent="0">
              <a:lnSpc>
                <a:spcPct val="220000"/>
              </a:lnSpc>
              <a:buNone/>
            </a:pPr>
            <a:r>
              <a:rPr lang="en-US" sz="9600" b="1" dirty="0">
                <a:solidFill>
                  <a:srgbClr val="7030A0"/>
                </a:solidFill>
                <a:cs typeface="Arial"/>
                <a:sym typeface="Arial"/>
                <a:hlinkClick r:id="rId9" action="ppaction://hlinksldjump">
                  <a:extLst>
                    <a:ext uri="{A12FA001-AC4F-418D-AE19-62706E023703}">
                      <ahyp:hlinkClr xmlns:ahyp="http://schemas.microsoft.com/office/drawing/2018/hyperlinkcolor" val="tx"/>
                    </a:ext>
                  </a:extLst>
                </a:hlinkClick>
              </a:rPr>
              <a:t>4. Takeaways and Q&amp;A</a:t>
            </a:r>
            <a:endParaRPr lang="en-US" sz="9600" b="1" dirty="0">
              <a:solidFill>
                <a:srgbClr val="7030A0"/>
              </a:solidFill>
              <a:cs typeface="Arial"/>
              <a:sym typeface="Arial"/>
            </a:endParaRPr>
          </a:p>
          <a:p>
            <a:pPr marL="0" indent="0">
              <a:lnSpc>
                <a:spcPct val="220000"/>
              </a:lnSpc>
              <a:buNone/>
            </a:pPr>
            <a:endParaRPr lang="en-US" sz="2800" dirty="0">
              <a:solidFill>
                <a:schemeClr val="bg1">
                  <a:lumMod val="65000"/>
                </a:schemeClr>
              </a:solidFill>
            </a:endParaRPr>
          </a:p>
          <a:p>
            <a:pPr>
              <a:lnSpc>
                <a:spcPct val="220000"/>
              </a:lnSpc>
              <a:buFont typeface="Arial" panose="020B0604020202020204" pitchFamily="34" charset="0"/>
              <a:buChar char="•"/>
            </a:pPr>
            <a:endParaRPr lang="en-US" sz="2400" dirty="0">
              <a:solidFill>
                <a:schemeClr val="bg1">
                  <a:lumMod val="65000"/>
                </a:schemeClr>
              </a:solidFill>
              <a:latin typeface="Helvetica" pitchFamily="2" charset="0"/>
            </a:endParaRPr>
          </a:p>
          <a:p>
            <a:endParaRPr lang="en-US" dirty="0"/>
          </a:p>
        </p:txBody>
      </p:sp>
    </p:spTree>
    <p:extLst>
      <p:ext uri="{BB962C8B-B14F-4D97-AF65-F5344CB8AC3E}">
        <p14:creationId xmlns:p14="http://schemas.microsoft.com/office/powerpoint/2010/main" val="242729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70">
            <a:extLst>
              <a:ext uri="{FF2B5EF4-FFF2-40B4-BE49-F238E27FC236}">
                <a16:creationId xmlns:a16="http://schemas.microsoft.com/office/drawing/2014/main" id="{23258FC2-8438-4CBA-AD6E-45B30001F109}"/>
              </a:ext>
            </a:extLst>
          </p:cNvPr>
          <p:cNvSpPr txBox="1"/>
          <p:nvPr>
            <p:custDataLst>
              <p:tags r:id="rId1"/>
            </p:custDataLst>
          </p:nvPr>
        </p:nvSpPr>
        <p:spPr>
          <a:xfrm>
            <a:off x="209072" y="424362"/>
            <a:ext cx="5532875" cy="1323439"/>
          </a:xfrm>
          <a:prstGeom prst="rect">
            <a:avLst/>
          </a:prstGeom>
          <a:noFill/>
        </p:spPr>
        <p:txBody>
          <a:bodyPr wrap="square" rtlCol="0">
            <a:spAutoFit/>
          </a:bodyPr>
          <a:lstStyle/>
          <a:p>
            <a:r>
              <a:rPr lang="en-US" sz="2400">
                <a:solidFill>
                  <a:srgbClr val="7030A0"/>
                </a:solidFill>
                <a:latin typeface="Helvetica" pitchFamily="2" charset="0"/>
                <a:cs typeface="Arial"/>
              </a:rPr>
              <a:t>3. CONTACT TRACING APPS</a:t>
            </a:r>
          </a:p>
          <a:p>
            <a:r>
              <a:rPr lang="en-US" sz="2400">
                <a:solidFill>
                  <a:srgbClr val="7030A0"/>
                </a:solidFill>
                <a:latin typeface="Helvetica" pitchFamily="2" charset="0"/>
                <a:sym typeface="Wingdings" panose="05000000000000000000" pitchFamily="2" charset="2"/>
              </a:rPr>
              <a:t> A lot of protocols</a:t>
            </a:r>
            <a:endParaRPr lang="en-US" sz="2400">
              <a:solidFill>
                <a:srgbClr val="7030A0"/>
              </a:solidFill>
              <a:latin typeface="Helvetica" pitchFamily="2" charset="0"/>
              <a:cs typeface="Arial"/>
            </a:endParaRPr>
          </a:p>
          <a:p>
            <a:endParaRPr lang="en-US" sz="3200">
              <a:solidFill>
                <a:srgbClr val="7030A0"/>
              </a:solidFill>
              <a:latin typeface="Helvetica" pitchFamily="2" charset="0"/>
              <a:cs typeface="Arial"/>
            </a:endParaRPr>
          </a:p>
        </p:txBody>
      </p:sp>
      <p:sp>
        <p:nvSpPr>
          <p:cNvPr id="4" name="Content Placeholder 2">
            <a:extLst>
              <a:ext uri="{FF2B5EF4-FFF2-40B4-BE49-F238E27FC236}">
                <a16:creationId xmlns:a16="http://schemas.microsoft.com/office/drawing/2014/main" id="{3EDD771F-A26A-4179-B4A7-2335788933CC}"/>
              </a:ext>
            </a:extLst>
          </p:cNvPr>
          <p:cNvSpPr txBox="1">
            <a:spLocks/>
          </p:cNvSpPr>
          <p:nvPr>
            <p:custDataLst>
              <p:tags r:id="rId2"/>
            </p:custDataLst>
          </p:nvPr>
        </p:nvSpPr>
        <p:spPr>
          <a:xfrm>
            <a:off x="506315" y="1538010"/>
            <a:ext cx="2977515" cy="2259806"/>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b="1"/>
              <a:t>Centralized</a:t>
            </a:r>
          </a:p>
          <a:p>
            <a:pPr lvl="1"/>
            <a:r>
              <a:rPr lang="en-US" sz="1400"/>
              <a:t>PEPP-PT </a:t>
            </a:r>
          </a:p>
          <a:p>
            <a:pPr lvl="2"/>
            <a:r>
              <a:rPr lang="en-US" sz="1200"/>
              <a:t>UK</a:t>
            </a:r>
          </a:p>
          <a:p>
            <a:pPr lvl="1"/>
            <a:r>
              <a:rPr lang="en-US" sz="1400"/>
              <a:t>Robert</a:t>
            </a:r>
          </a:p>
          <a:p>
            <a:pPr lvl="2"/>
            <a:r>
              <a:rPr lang="en-US" sz="1200"/>
              <a:t>FR</a:t>
            </a:r>
          </a:p>
          <a:p>
            <a:r>
              <a:rPr lang="en-US" sz="1600" b="1"/>
              <a:t>Decentralized</a:t>
            </a:r>
          </a:p>
          <a:p>
            <a:pPr lvl="1"/>
            <a:r>
              <a:rPr lang="en-US" sz="1400"/>
              <a:t>DP-3T</a:t>
            </a:r>
          </a:p>
          <a:p>
            <a:pPr lvl="2"/>
            <a:r>
              <a:rPr lang="en-US" sz="1200"/>
              <a:t>BE</a:t>
            </a:r>
          </a:p>
          <a:p>
            <a:pPr lvl="2"/>
            <a:r>
              <a:rPr lang="en-US" sz="1200"/>
              <a:t>DE</a:t>
            </a:r>
          </a:p>
          <a:p>
            <a:pPr lvl="1"/>
            <a:r>
              <a:rPr lang="en-US" sz="1400"/>
              <a:t>Exposure Notifications (Apple/Google)</a:t>
            </a:r>
          </a:p>
          <a:p>
            <a:pPr lvl="2"/>
            <a:r>
              <a:rPr lang="en-US" sz="1200"/>
              <a:t>BE</a:t>
            </a:r>
          </a:p>
          <a:p>
            <a:pPr lvl="2"/>
            <a:r>
              <a:rPr lang="en-US" sz="1200"/>
              <a:t>DE</a:t>
            </a:r>
          </a:p>
        </p:txBody>
      </p:sp>
      <p:pic>
        <p:nvPicPr>
          <p:cNvPr id="6" name="Picture 5">
            <a:extLst>
              <a:ext uri="{FF2B5EF4-FFF2-40B4-BE49-F238E27FC236}">
                <a16:creationId xmlns:a16="http://schemas.microsoft.com/office/drawing/2014/main" id="{E5367710-A2F4-4647-A784-DAC990519FCA}"/>
              </a:ext>
            </a:extLst>
          </p:cNvPr>
          <p:cNvPicPr>
            <a:picLocks noChangeAspect="1"/>
          </p:cNvPicPr>
          <p:nvPr>
            <p:custDataLst>
              <p:tags r:id="rId3"/>
            </p:custDataLst>
          </p:nvPr>
        </p:nvPicPr>
        <p:blipFill>
          <a:blip r:embed="rId8"/>
          <a:stretch>
            <a:fillRect/>
          </a:stretch>
        </p:blipFill>
        <p:spPr>
          <a:xfrm>
            <a:off x="3348131" y="1044384"/>
            <a:ext cx="4748516" cy="3418073"/>
          </a:xfrm>
          <a:prstGeom prst="rect">
            <a:avLst/>
          </a:prstGeom>
        </p:spPr>
      </p:pic>
      <p:pic>
        <p:nvPicPr>
          <p:cNvPr id="7" name="Picture 6">
            <a:extLst>
              <a:ext uri="{FF2B5EF4-FFF2-40B4-BE49-F238E27FC236}">
                <a16:creationId xmlns:a16="http://schemas.microsoft.com/office/drawing/2014/main" id="{B8C1AB3B-8694-4E76-9D27-853447FE4107}"/>
              </a:ext>
            </a:extLst>
          </p:cNvPr>
          <p:cNvPicPr>
            <a:picLocks noChangeAspect="1"/>
          </p:cNvPicPr>
          <p:nvPr>
            <p:custDataLst>
              <p:tags r:id="rId4"/>
            </p:custDataLst>
          </p:nvPr>
        </p:nvPicPr>
        <p:blipFill>
          <a:blip r:embed="rId9"/>
          <a:stretch>
            <a:fillRect/>
          </a:stretch>
        </p:blipFill>
        <p:spPr>
          <a:xfrm>
            <a:off x="3421022" y="942502"/>
            <a:ext cx="5466955" cy="3776636"/>
          </a:xfrm>
          <a:prstGeom prst="rect">
            <a:avLst/>
          </a:prstGeom>
        </p:spPr>
      </p:pic>
      <p:sp>
        <p:nvSpPr>
          <p:cNvPr id="3" name="TextBox 2">
            <a:extLst>
              <a:ext uri="{FF2B5EF4-FFF2-40B4-BE49-F238E27FC236}">
                <a16:creationId xmlns:a16="http://schemas.microsoft.com/office/drawing/2014/main" id="{1986A9FF-99A1-47C1-8325-E093E4E0B48C}"/>
              </a:ext>
            </a:extLst>
          </p:cNvPr>
          <p:cNvSpPr txBox="1"/>
          <p:nvPr>
            <p:custDataLst>
              <p:tags r:id="rId5"/>
            </p:custDataLst>
          </p:nvPr>
        </p:nvSpPr>
        <p:spPr>
          <a:xfrm>
            <a:off x="3421022" y="4802194"/>
            <a:ext cx="4641850" cy="307777"/>
          </a:xfrm>
          <a:prstGeom prst="rect">
            <a:avLst/>
          </a:prstGeom>
          <a:noFill/>
        </p:spPr>
        <p:txBody>
          <a:bodyPr wrap="square" rtlCol="0">
            <a:spAutoFit/>
          </a:bodyPr>
          <a:lstStyle/>
          <a:p>
            <a:r>
              <a:rPr lang="fr-LU">
                <a:highlight>
                  <a:srgbClr val="F9F9F9"/>
                </a:highlight>
              </a:rPr>
              <a:t>https://arxiv.org/ftp/arxiv/papers/2007/2007.02806.pdf</a:t>
            </a:r>
          </a:p>
        </p:txBody>
      </p:sp>
    </p:spTree>
    <p:extLst>
      <p:ext uri="{BB962C8B-B14F-4D97-AF65-F5344CB8AC3E}">
        <p14:creationId xmlns:p14="http://schemas.microsoft.com/office/powerpoint/2010/main" val="3361285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6"/>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0" end="1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70">
            <a:extLst>
              <a:ext uri="{FF2B5EF4-FFF2-40B4-BE49-F238E27FC236}">
                <a16:creationId xmlns:a16="http://schemas.microsoft.com/office/drawing/2014/main" id="{52ADAF92-E5BC-486F-82F0-FC0A2847B1A4}"/>
              </a:ext>
            </a:extLst>
          </p:cNvPr>
          <p:cNvSpPr txBox="1"/>
          <p:nvPr>
            <p:custDataLst>
              <p:tags r:id="rId1"/>
            </p:custDataLst>
          </p:nvPr>
        </p:nvSpPr>
        <p:spPr>
          <a:xfrm>
            <a:off x="209073" y="424362"/>
            <a:ext cx="8087202" cy="1323439"/>
          </a:xfrm>
          <a:prstGeom prst="rect">
            <a:avLst/>
          </a:prstGeom>
          <a:noFill/>
        </p:spPr>
        <p:txBody>
          <a:bodyPr wrap="square" rtlCol="0">
            <a:spAutoFit/>
          </a:bodyPr>
          <a:lstStyle/>
          <a:p>
            <a:r>
              <a:rPr lang="en-US" sz="2400">
                <a:solidFill>
                  <a:srgbClr val="7030A0"/>
                </a:solidFill>
                <a:latin typeface="Helvetica" pitchFamily="2" charset="0"/>
                <a:cs typeface="Arial"/>
              </a:rPr>
              <a:t>3. CONTACT TRACING APPS</a:t>
            </a:r>
          </a:p>
          <a:p>
            <a:r>
              <a:rPr lang="en-US" sz="2400">
                <a:solidFill>
                  <a:srgbClr val="7030A0"/>
                </a:solidFill>
                <a:latin typeface="Helvetica" pitchFamily="2" charset="0"/>
                <a:sym typeface="Wingdings" panose="05000000000000000000" pitchFamily="2" charset="2"/>
              </a:rPr>
              <a:t>Is it helpful ? </a:t>
            </a:r>
            <a:r>
              <a:rPr lang="en-US" sz="2000">
                <a:solidFill>
                  <a:srgbClr val="7030A0"/>
                </a:solidFill>
                <a:latin typeface="Helvetica" pitchFamily="2" charset="0"/>
                <a:sym typeface="Wingdings" panose="05000000000000000000" pitchFamily="2" charset="2"/>
              </a:rPr>
              <a:t>Yes</a:t>
            </a:r>
            <a:r>
              <a:rPr lang="en-US" sz="2400">
                <a:solidFill>
                  <a:srgbClr val="7030A0"/>
                </a:solidFill>
                <a:latin typeface="Helvetica" pitchFamily="2" charset="0"/>
                <a:sym typeface="Wingdings" panose="05000000000000000000" pitchFamily="2" charset="2"/>
              </a:rPr>
              <a:t> </a:t>
            </a:r>
            <a:r>
              <a:rPr lang="en-US" sz="2000">
                <a:solidFill>
                  <a:srgbClr val="7030A0"/>
                </a:solidFill>
                <a:latin typeface="Helvetica" pitchFamily="2" charset="0"/>
                <a:sym typeface="Wingdings" panose="05000000000000000000" pitchFamily="2" charset="2"/>
              </a:rPr>
              <a:t>or no </a:t>
            </a:r>
            <a:r>
              <a:rPr lang="en-US" sz="2400">
                <a:solidFill>
                  <a:srgbClr val="7030A0"/>
                </a:solidFill>
                <a:latin typeface="Helvetica" pitchFamily="2" charset="0"/>
                <a:sym typeface="Wingdings" panose="05000000000000000000" pitchFamily="2" charset="2"/>
              </a:rPr>
              <a:t>… </a:t>
            </a:r>
            <a:r>
              <a:rPr lang="en-US" sz="1800">
                <a:solidFill>
                  <a:srgbClr val="7030A0"/>
                </a:solidFill>
                <a:latin typeface="Helvetica" pitchFamily="2" charset="0"/>
                <a:sym typeface="Wingdings" panose="05000000000000000000" pitchFamily="2" charset="2"/>
              </a:rPr>
              <a:t>I mean we don’t know</a:t>
            </a:r>
            <a:endParaRPr lang="en-US" sz="2400">
              <a:solidFill>
                <a:srgbClr val="7030A0"/>
              </a:solidFill>
              <a:latin typeface="Helvetica" pitchFamily="2" charset="0"/>
              <a:cs typeface="Arial"/>
            </a:endParaRPr>
          </a:p>
          <a:p>
            <a:endParaRPr lang="en-US" sz="3200">
              <a:solidFill>
                <a:srgbClr val="7030A0"/>
              </a:solidFill>
              <a:latin typeface="Helvetica" pitchFamily="2" charset="0"/>
              <a:cs typeface="Arial"/>
            </a:endParaRPr>
          </a:p>
        </p:txBody>
      </p:sp>
      <p:sp>
        <p:nvSpPr>
          <p:cNvPr id="3" name="Content Placeholder 2">
            <a:extLst>
              <a:ext uri="{FF2B5EF4-FFF2-40B4-BE49-F238E27FC236}">
                <a16:creationId xmlns:a16="http://schemas.microsoft.com/office/drawing/2014/main" id="{1504E2C4-5459-4EC7-9CE2-58CD68F8A722}"/>
              </a:ext>
            </a:extLst>
          </p:cNvPr>
          <p:cNvSpPr txBox="1">
            <a:spLocks/>
          </p:cNvSpPr>
          <p:nvPr>
            <p:custDataLst>
              <p:tags r:id="rId2"/>
            </p:custDataLst>
          </p:nvPr>
        </p:nvSpPr>
        <p:spPr>
          <a:xfrm>
            <a:off x="327773" y="1713298"/>
            <a:ext cx="4109085" cy="3263504"/>
          </a:xfrm>
          <a:prstGeom prst="rect">
            <a:avLst/>
          </a:prstGeom>
        </p:spPr>
        <p:txBody>
          <a:bodyP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If I’m in contact with a Covid+ I will be alerted</a:t>
            </a:r>
          </a:p>
          <a:p>
            <a:r>
              <a:rPr lang="en-US" dirty="0"/>
              <a:t>Each usage is helping (even less than 60%).</a:t>
            </a:r>
          </a:p>
          <a:p>
            <a:r>
              <a:rPr lang="en-US" dirty="0"/>
              <a:t>the app used calibrated values for detecting contact to 1m50 and during 15min</a:t>
            </a:r>
          </a:p>
          <a:p>
            <a:endParaRPr lang="en-US" dirty="0"/>
          </a:p>
          <a:p>
            <a:endParaRPr lang="en-US" dirty="0"/>
          </a:p>
        </p:txBody>
      </p:sp>
      <p:sp>
        <p:nvSpPr>
          <p:cNvPr id="4" name="Content Placeholder 2">
            <a:extLst>
              <a:ext uri="{FF2B5EF4-FFF2-40B4-BE49-F238E27FC236}">
                <a16:creationId xmlns:a16="http://schemas.microsoft.com/office/drawing/2014/main" id="{0C8FBDDC-A571-427E-B22F-6A2A37C238C1}"/>
              </a:ext>
            </a:extLst>
          </p:cNvPr>
          <p:cNvSpPr txBox="1">
            <a:spLocks/>
          </p:cNvSpPr>
          <p:nvPr>
            <p:custDataLst>
              <p:tags r:id="rId3"/>
            </p:custDataLst>
          </p:nvPr>
        </p:nvSpPr>
        <p:spPr>
          <a:xfrm>
            <a:off x="4609454" y="1713298"/>
            <a:ext cx="4326255" cy="3263504"/>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100" dirty="0"/>
              <a:t>If I’m asymptomatic, I can’t advertise others.</a:t>
            </a:r>
          </a:p>
          <a:p>
            <a:r>
              <a:rPr lang="en-US" sz="2100" dirty="0"/>
              <a:t>60% of people should use the app.</a:t>
            </a:r>
          </a:p>
          <a:p>
            <a:r>
              <a:rPr lang="en-US" sz="2100" dirty="0"/>
              <a:t>Bluetooth is not precise at all.</a:t>
            </a:r>
          </a:p>
          <a:p>
            <a:endParaRPr lang="en-US" sz="2100" dirty="0"/>
          </a:p>
        </p:txBody>
      </p:sp>
      <p:sp>
        <p:nvSpPr>
          <p:cNvPr id="12" name="TextBox 11">
            <a:extLst>
              <a:ext uri="{FF2B5EF4-FFF2-40B4-BE49-F238E27FC236}">
                <a16:creationId xmlns:a16="http://schemas.microsoft.com/office/drawing/2014/main" id="{DA518D36-1E83-493D-8834-42A4543931F7}"/>
              </a:ext>
            </a:extLst>
          </p:cNvPr>
          <p:cNvSpPr txBox="1"/>
          <p:nvPr>
            <p:custDataLst>
              <p:tags r:id="rId4"/>
            </p:custDataLst>
          </p:nvPr>
        </p:nvSpPr>
        <p:spPr>
          <a:xfrm>
            <a:off x="327773" y="1365672"/>
            <a:ext cx="1148196" cy="400110"/>
          </a:xfrm>
          <a:prstGeom prst="rect">
            <a:avLst/>
          </a:prstGeom>
          <a:noFill/>
        </p:spPr>
        <p:txBody>
          <a:bodyPr wrap="square" rtlCol="0">
            <a:spAutoFit/>
          </a:bodyPr>
          <a:lstStyle/>
          <a:p>
            <a:r>
              <a:rPr lang="fr-FR" sz="2000" b="1" dirty="0"/>
              <a:t>Pro</a:t>
            </a:r>
            <a:endParaRPr lang="fr-LU" sz="2000" b="1" dirty="0"/>
          </a:p>
        </p:txBody>
      </p:sp>
      <p:sp>
        <p:nvSpPr>
          <p:cNvPr id="13" name="TextBox 12">
            <a:extLst>
              <a:ext uri="{FF2B5EF4-FFF2-40B4-BE49-F238E27FC236}">
                <a16:creationId xmlns:a16="http://schemas.microsoft.com/office/drawing/2014/main" id="{D44C632E-9ABB-463F-A11F-E9B4DD317F09}"/>
              </a:ext>
            </a:extLst>
          </p:cNvPr>
          <p:cNvSpPr txBox="1"/>
          <p:nvPr>
            <p:custDataLst>
              <p:tags r:id="rId5"/>
            </p:custDataLst>
          </p:nvPr>
        </p:nvSpPr>
        <p:spPr>
          <a:xfrm>
            <a:off x="4534547" y="1358391"/>
            <a:ext cx="1148196" cy="400110"/>
          </a:xfrm>
          <a:prstGeom prst="rect">
            <a:avLst/>
          </a:prstGeom>
          <a:noFill/>
        </p:spPr>
        <p:txBody>
          <a:bodyPr wrap="square" rtlCol="0">
            <a:spAutoFit/>
          </a:bodyPr>
          <a:lstStyle/>
          <a:p>
            <a:r>
              <a:rPr lang="fr-FR" sz="2000" b="1" dirty="0"/>
              <a:t>Con</a:t>
            </a:r>
            <a:endParaRPr lang="fr-LU" b="1" dirty="0"/>
          </a:p>
        </p:txBody>
      </p:sp>
      <p:sp>
        <p:nvSpPr>
          <p:cNvPr id="6" name="TextBox 5">
            <a:extLst>
              <a:ext uri="{FF2B5EF4-FFF2-40B4-BE49-F238E27FC236}">
                <a16:creationId xmlns:a16="http://schemas.microsoft.com/office/drawing/2014/main" id="{1A88F0BD-7D7A-4CA7-A8AD-3909C339CB7C}"/>
              </a:ext>
            </a:extLst>
          </p:cNvPr>
          <p:cNvSpPr txBox="1"/>
          <p:nvPr>
            <p:custDataLst>
              <p:tags r:id="rId6"/>
            </p:custDataLst>
          </p:nvPr>
        </p:nvSpPr>
        <p:spPr>
          <a:xfrm>
            <a:off x="2408444" y="4805974"/>
            <a:ext cx="4597400" cy="307777"/>
          </a:xfrm>
          <a:prstGeom prst="rect">
            <a:avLst/>
          </a:prstGeom>
          <a:noFill/>
        </p:spPr>
        <p:txBody>
          <a:bodyPr wrap="square" rtlCol="0">
            <a:spAutoFit/>
          </a:bodyPr>
          <a:lstStyle/>
          <a:p>
            <a:r>
              <a:rPr lang="fr-LU">
                <a:highlight>
                  <a:srgbClr val="F9F9F9"/>
                </a:highlight>
              </a:rPr>
              <a:t>https://www.youtube.com/watch?v=SAi24ctpyZQ</a:t>
            </a:r>
          </a:p>
        </p:txBody>
      </p:sp>
      <p:sp>
        <p:nvSpPr>
          <p:cNvPr id="7" name="TextBox 6">
            <a:extLst>
              <a:ext uri="{FF2B5EF4-FFF2-40B4-BE49-F238E27FC236}">
                <a16:creationId xmlns:a16="http://schemas.microsoft.com/office/drawing/2014/main" id="{1AAC40EB-A6E4-4E48-832F-AA7A9AFC39BB}"/>
              </a:ext>
            </a:extLst>
          </p:cNvPr>
          <p:cNvSpPr txBox="1"/>
          <p:nvPr>
            <p:custDataLst>
              <p:tags r:id="rId7"/>
            </p:custDataLst>
          </p:nvPr>
        </p:nvSpPr>
        <p:spPr>
          <a:xfrm>
            <a:off x="1276497" y="4829057"/>
            <a:ext cx="7308703" cy="261610"/>
          </a:xfrm>
          <a:prstGeom prst="rect">
            <a:avLst/>
          </a:prstGeom>
          <a:noFill/>
        </p:spPr>
        <p:txBody>
          <a:bodyPr wrap="square" rtlCol="0">
            <a:spAutoFit/>
          </a:bodyPr>
          <a:lstStyle/>
          <a:p>
            <a:r>
              <a:rPr lang="fr-LU" sz="1100">
                <a:highlight>
                  <a:srgbClr val="F9F9F9"/>
                </a:highlight>
              </a:rPr>
              <a:t>https://www.nextinpact.com/article/30292/109007-contact-tracing-on-refait-point-sur-problemes-avec-bluetooth</a:t>
            </a:r>
          </a:p>
        </p:txBody>
      </p:sp>
      <p:pic>
        <p:nvPicPr>
          <p:cNvPr id="5" name="Picture 2" descr="OpenTrace Bluetooth">
            <a:extLst>
              <a:ext uri="{FF2B5EF4-FFF2-40B4-BE49-F238E27FC236}">
                <a16:creationId xmlns:a16="http://schemas.microsoft.com/office/drawing/2014/main" id="{6AAB9130-0C37-4FFD-8AA2-03BCC50649F7}"/>
              </a:ext>
            </a:extLst>
          </p:cNvPr>
          <p:cNvPicPr>
            <a:picLocks noChangeAspect="1" noChangeArrowheads="1"/>
          </p:cNvPicPr>
          <p:nvPr>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auto">
          <a:xfrm>
            <a:off x="1475969" y="1721719"/>
            <a:ext cx="5700713" cy="28432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ext, posing&#10;&#10;Description automatically generated">
            <a:extLst>
              <a:ext uri="{FF2B5EF4-FFF2-40B4-BE49-F238E27FC236}">
                <a16:creationId xmlns:a16="http://schemas.microsoft.com/office/drawing/2014/main" id="{E5B5F5A9-BAFD-4395-98B9-4B334E4F7F6B}"/>
              </a:ext>
            </a:extLst>
          </p:cNvPr>
          <p:cNvPicPr>
            <a:picLocks noChangeAspect="1"/>
          </p:cNvPicPr>
          <p:nvPr>
            <p:custDataLst>
              <p:tags r:id="rId9"/>
            </p:custDataLst>
          </p:nvPr>
        </p:nvPicPr>
        <p:blipFill>
          <a:blip r:embed="rId16"/>
          <a:stretch>
            <a:fillRect/>
          </a:stretch>
        </p:blipFill>
        <p:spPr>
          <a:xfrm>
            <a:off x="1998498" y="1497882"/>
            <a:ext cx="4800600" cy="3067050"/>
          </a:xfrm>
          <a:prstGeom prst="rect">
            <a:avLst/>
          </a:prstGeom>
        </p:spPr>
      </p:pic>
      <p:pic>
        <p:nvPicPr>
          <p:cNvPr id="14" name="Distance measurement using Bluetooth Low Energy">
            <a:hlinkClick r:id="" action="ppaction://media"/>
            <a:extLst>
              <a:ext uri="{FF2B5EF4-FFF2-40B4-BE49-F238E27FC236}">
                <a16:creationId xmlns:a16="http://schemas.microsoft.com/office/drawing/2014/main" id="{A556DE4B-4CC2-4C7F-86A4-F5B6DF960B87}"/>
              </a:ext>
            </a:extLst>
          </p:cNvPr>
          <p:cNvPicPr>
            <a:picLocks noChangeAspect="1"/>
          </p:cNvPicPr>
          <p:nvPr>
            <a:videoFile r:link="rId10"/>
            <p:custDataLst>
              <p:tags r:id="rId11"/>
            </p:custDataLst>
            <p:extLst>
              <p:ext uri="{DAA4B4D4-6D71-4841-9C94-3DE7FCFB9230}">
                <p14:media xmlns:p14="http://schemas.microsoft.com/office/powerpoint/2010/main" r:embed="rId12">
                  <p14:trim st="16279" end="5592.8697"/>
                </p14:media>
              </p:ext>
            </p:extLst>
          </p:nvPr>
        </p:nvPicPr>
        <p:blipFill>
          <a:blip r:embed="rId17"/>
          <a:stretch>
            <a:fillRect/>
          </a:stretch>
        </p:blipFill>
        <p:spPr>
          <a:xfrm>
            <a:off x="1486547" y="1292349"/>
            <a:ext cx="6096000" cy="3429000"/>
          </a:xfrm>
          <a:prstGeom prst="rect">
            <a:avLst/>
          </a:prstGeom>
        </p:spPr>
      </p:pic>
    </p:spTree>
    <p:extLst>
      <p:ext uri="{BB962C8B-B14F-4D97-AF65-F5344CB8AC3E}">
        <p14:creationId xmlns:p14="http://schemas.microsoft.com/office/powerpoint/2010/main" val="192637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nodeType="clickEffect">
                                  <p:stCondLst>
                                    <p:cond delay="0"/>
                                  </p:stCondLst>
                                  <p:childTnLst>
                                    <p:set>
                                      <p:cBhvr>
                                        <p:cTn id="38" dur="1" fill="hold">
                                          <p:stCondLst>
                                            <p:cond delay="0"/>
                                          </p:stCondLst>
                                        </p:cTn>
                                        <p:tgtEl>
                                          <p:spTgt spid="5"/>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7"/>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8"/>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9"/>
                                          </p:stCondLst>
                                        </p:cTn>
                                        <p:tgtEl>
                                          <p:spTgt spid="14"/>
                                        </p:tgtEl>
                                        <p:attrNameLst>
                                          <p:attrName>style.visibility</p:attrName>
                                        </p:attrNameLst>
                                      </p:cBhvr>
                                      <p:to>
                                        <p:strVal val="visible"/>
                                      </p:to>
                                    </p:set>
                                  </p:childTnLst>
                                </p:cTn>
                              </p:par>
                              <p:par>
                                <p:cTn id="55" presetID="1" presetClass="mediacall" presetSubtype="0" fill="hold" nodeType="withEffect">
                                  <p:stCondLst>
                                    <p:cond delay="0"/>
                                  </p:stCondLst>
                                  <p:childTnLst>
                                    <p:cmd type="call" cmd="playFrom(0.0)">
                                      <p:cBhvr>
                                        <p:cTn id="56" dur="21503" fill="hold"/>
                                        <p:tgtEl>
                                          <p:spTgt spid="14"/>
                                        </p:tgtEl>
                                      </p:cBhvr>
                                    </p:cmd>
                                  </p:childTnLst>
                                </p:cTn>
                              </p:par>
                              <p:par>
                                <p:cTn id="57" presetID="1" presetClass="entr" presetSubtype="0"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2" presetClass="mediacall" presetSubtype="0" fill="hold" nodeType="clickEffect">
                                  <p:stCondLst>
                                    <p:cond delay="0"/>
                                  </p:stCondLst>
                                  <p:childTnLst>
                                    <p:cmd type="call" cmd="togglePause">
                                      <p:cBhvr>
                                        <p:cTn id="62" dur="1" fill="hold"/>
                                        <p:tgtEl>
                                          <p:spTgt spid="14"/>
                                        </p:tgtEl>
                                      </p:cBhvr>
                                    </p:cmd>
                                  </p:childTnLst>
                                </p:cTn>
                              </p:par>
                              <p:par>
                                <p:cTn id="63" presetID="1" presetClass="exit" presetSubtype="0" fill="hold" nodeType="withEffect">
                                  <p:stCondLst>
                                    <p:cond delay="0"/>
                                  </p:stCondLst>
                                  <p:childTnLst>
                                    <p:set>
                                      <p:cBhvr>
                                        <p:cTn id="64" dur="1" fill="hold">
                                          <p:stCondLst>
                                            <p:cond delay="9"/>
                                          </p:stCondLst>
                                        </p:cTn>
                                        <p:tgtEl>
                                          <p:spTgt spid="14"/>
                                        </p:tgtEl>
                                        <p:attrNameLst>
                                          <p:attrName>style.visibility</p:attrName>
                                        </p:attrNameLst>
                                      </p:cBhvr>
                                      <p:to>
                                        <p:strVal val="hidden"/>
                                      </p:to>
                                    </p:set>
                                    <p:cmd type="call" cmd="stop">
                                      <p:cBhvr>
                                        <p:cTn id="65" dur="1">
                                          <p:stCondLst>
                                            <p:cond delay="9"/>
                                          </p:stCondLst>
                                        </p:cTn>
                                        <p:tgtEl>
                                          <p:spTgt spid="14"/>
                                        </p:tgtEl>
                                      </p:cBhvr>
                                    </p:cmd>
                                  </p:childTnLst>
                                </p:cTn>
                              </p:par>
                              <p:par>
                                <p:cTn id="66" presetID="1" presetClass="exit" presetSubtype="0" fill="hold" grpId="1" nodeType="withEffect">
                                  <p:stCondLst>
                                    <p:cond delay="0"/>
                                  </p:stCondLst>
                                  <p:childTnLst>
                                    <p:set>
                                      <p:cBhvr>
                                        <p:cTn id="67"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68" fill="hold" display="0">
                  <p:stCondLst>
                    <p:cond delay="indefinite"/>
                  </p:stCondLst>
                </p:cTn>
                <p:tgtEl>
                  <p:spTgt spid="14"/>
                </p:tgtEl>
              </p:cMediaNode>
            </p:video>
          </p:childTnLst>
        </p:cTn>
      </p:par>
    </p:tnLst>
    <p:bldLst>
      <p:bldP spid="12" grpId="0"/>
      <p:bldP spid="13" grpId="0"/>
      <p:bldP spid="6" grpId="0"/>
      <p:bldP spid="6" grpId="1"/>
      <p:bldP spid="7" grpId="0"/>
      <p:bldP spid="7"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013EEE5D-B5B2-418E-A72A-8B73E1E06756}"/>
              </a:ext>
            </a:extLst>
          </p:cNvPr>
          <p:cNvPicPr>
            <a:picLocks noChangeAspect="1" noChangeArrowheads="1"/>
          </p:cNvPicPr>
          <p:nvPr>
            <p:custDataLst>
              <p:tags r:id="rId1"/>
            </p:custDataLst>
          </p:nvPr>
        </p:nvPicPr>
        <p:blipFill>
          <a:blip r:embed="rId10">
            <a:extLst>
              <a:ext uri="{28A0092B-C50C-407E-A947-70E740481C1C}">
                <a14:useLocalDpi xmlns:a14="http://schemas.microsoft.com/office/drawing/2010/main" val="0"/>
              </a:ext>
            </a:extLst>
          </a:blip>
          <a:srcRect/>
          <a:stretch>
            <a:fillRect/>
          </a:stretch>
        </p:blipFill>
        <p:spPr bwMode="auto">
          <a:xfrm>
            <a:off x="209073" y="1347147"/>
            <a:ext cx="3274995" cy="3355782"/>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51B76309-DC50-46C1-8241-C5D5318F40D2}"/>
              </a:ext>
            </a:extLst>
          </p:cNvPr>
          <p:cNvSpPr txBox="1">
            <a:spLocks/>
          </p:cNvSpPr>
          <p:nvPr>
            <p:custDataLst>
              <p:tags r:id="rId2"/>
            </p:custDataLst>
          </p:nvPr>
        </p:nvSpPr>
        <p:spPr>
          <a:xfrm>
            <a:off x="3484068" y="1148763"/>
            <a:ext cx="5359400" cy="3748881"/>
          </a:xfrm>
          <a:prstGeom prst="rect">
            <a:avLst/>
          </a:prstGeom>
        </p:spPr>
        <p:txBody>
          <a:bodyPr>
            <a:normAutofit fontScale="92500" lnSpcReduction="1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Really hard to answer…</a:t>
            </a:r>
          </a:p>
          <a:p>
            <a:r>
              <a:rPr lang="en-US" dirty="0"/>
              <a:t>On Be, Fr and De application, no GPS used</a:t>
            </a:r>
          </a:p>
          <a:p>
            <a:r>
              <a:rPr lang="en-US" dirty="0"/>
              <a:t>Apple/Google notification Exposures … we don’t know except inside dev </a:t>
            </a:r>
            <a:r>
              <a:rPr lang="en-US" dirty="0">
                <a:sym typeface="Wingdings" panose="05000000000000000000" pitchFamily="2" charset="2"/>
              </a:rPr>
              <a:t></a:t>
            </a:r>
          </a:p>
          <a:p>
            <a:r>
              <a:rPr lang="en-US" dirty="0"/>
              <a:t>Close source apps …need some reverse engineering</a:t>
            </a:r>
          </a:p>
          <a:p>
            <a:endParaRPr lang="en-US" dirty="0"/>
          </a:p>
          <a:p>
            <a:r>
              <a:rPr lang="en-US" dirty="0"/>
              <a:t>Centralized protocol</a:t>
            </a:r>
          </a:p>
          <a:p>
            <a:pPr lvl="1"/>
            <a:r>
              <a:rPr lang="en-US" dirty="0"/>
              <a:t>The server have all the data, so it could be possible to make a contact graph</a:t>
            </a:r>
          </a:p>
          <a:p>
            <a:r>
              <a:rPr lang="en-US" dirty="0"/>
              <a:t>Decentralized protocol</a:t>
            </a:r>
          </a:p>
          <a:p>
            <a:pPr lvl="1"/>
            <a:r>
              <a:rPr lang="en-US" dirty="0"/>
              <a:t>With a lot of resources, it could be possible to sniff on public space all Bluetooth request.</a:t>
            </a:r>
          </a:p>
        </p:txBody>
      </p:sp>
      <p:sp>
        <p:nvSpPr>
          <p:cNvPr id="5" name="TextBox 70">
            <a:extLst>
              <a:ext uri="{FF2B5EF4-FFF2-40B4-BE49-F238E27FC236}">
                <a16:creationId xmlns:a16="http://schemas.microsoft.com/office/drawing/2014/main" id="{7A3882F4-9DAB-482B-A325-394A9E9E1CEF}"/>
              </a:ext>
            </a:extLst>
          </p:cNvPr>
          <p:cNvSpPr txBox="1"/>
          <p:nvPr>
            <p:custDataLst>
              <p:tags r:id="rId3"/>
            </p:custDataLst>
          </p:nvPr>
        </p:nvSpPr>
        <p:spPr>
          <a:xfrm>
            <a:off x="209073" y="424362"/>
            <a:ext cx="8087202" cy="1323439"/>
          </a:xfrm>
          <a:prstGeom prst="rect">
            <a:avLst/>
          </a:prstGeom>
          <a:noFill/>
        </p:spPr>
        <p:txBody>
          <a:bodyPr wrap="square" rtlCol="0">
            <a:spAutoFit/>
          </a:bodyPr>
          <a:lstStyle/>
          <a:p>
            <a:r>
              <a:rPr lang="en-US" sz="2400">
                <a:solidFill>
                  <a:srgbClr val="7030A0"/>
                </a:solidFill>
                <a:latin typeface="Helvetica" pitchFamily="2" charset="0"/>
                <a:cs typeface="Arial"/>
              </a:rPr>
              <a:t>3. CONTACT TRACING APPS</a:t>
            </a:r>
          </a:p>
          <a:p>
            <a:r>
              <a:rPr lang="en-US" sz="2400">
                <a:solidFill>
                  <a:srgbClr val="7030A0"/>
                </a:solidFill>
                <a:latin typeface="Helvetica" pitchFamily="2" charset="0"/>
                <a:sym typeface="Wingdings" panose="05000000000000000000" pitchFamily="2" charset="2"/>
              </a:rPr>
              <a:t>Are we being followed ?</a:t>
            </a:r>
            <a:endParaRPr lang="en-US" sz="2400">
              <a:solidFill>
                <a:srgbClr val="7030A0"/>
              </a:solidFill>
              <a:latin typeface="Helvetica" pitchFamily="2" charset="0"/>
              <a:cs typeface="Arial"/>
            </a:endParaRPr>
          </a:p>
          <a:p>
            <a:endParaRPr lang="en-US" sz="3200">
              <a:solidFill>
                <a:srgbClr val="7030A0"/>
              </a:solidFill>
              <a:latin typeface="Helvetica" pitchFamily="2" charset="0"/>
              <a:cs typeface="Arial"/>
            </a:endParaRPr>
          </a:p>
        </p:txBody>
      </p:sp>
      <p:pic>
        <p:nvPicPr>
          <p:cNvPr id="7" name="Picture 6">
            <a:extLst>
              <a:ext uri="{FF2B5EF4-FFF2-40B4-BE49-F238E27FC236}">
                <a16:creationId xmlns:a16="http://schemas.microsoft.com/office/drawing/2014/main" id="{AE3D6537-33D9-4157-956D-8B8DAD5832FC}"/>
              </a:ext>
            </a:extLst>
          </p:cNvPr>
          <p:cNvPicPr>
            <a:picLocks noChangeAspect="1"/>
          </p:cNvPicPr>
          <p:nvPr>
            <p:custDataLst>
              <p:tags r:id="rId4"/>
            </p:custDataLst>
          </p:nvPr>
        </p:nvPicPr>
        <p:blipFill>
          <a:blip r:embed="rId11"/>
          <a:srcRect/>
          <a:stretch/>
        </p:blipFill>
        <p:spPr>
          <a:xfrm>
            <a:off x="209073" y="1346609"/>
            <a:ext cx="6694913" cy="3537532"/>
          </a:xfrm>
          <a:prstGeom prst="rect">
            <a:avLst/>
          </a:prstGeom>
        </p:spPr>
      </p:pic>
      <p:pic>
        <p:nvPicPr>
          <p:cNvPr id="8" name="Picture 7">
            <a:extLst>
              <a:ext uri="{FF2B5EF4-FFF2-40B4-BE49-F238E27FC236}">
                <a16:creationId xmlns:a16="http://schemas.microsoft.com/office/drawing/2014/main" id="{03A9849B-044F-4976-85B1-1B1B3EB1CCB9}"/>
              </a:ext>
            </a:extLst>
          </p:cNvPr>
          <p:cNvPicPr>
            <a:picLocks noChangeAspect="1"/>
          </p:cNvPicPr>
          <p:nvPr>
            <p:custDataLst>
              <p:tags r:id="rId5"/>
            </p:custDataLst>
          </p:nvPr>
        </p:nvPicPr>
        <p:blipFill>
          <a:blip r:embed="rId12"/>
          <a:srcRect/>
          <a:stretch/>
        </p:blipFill>
        <p:spPr>
          <a:xfrm>
            <a:off x="213873" y="1346609"/>
            <a:ext cx="6592997" cy="3447713"/>
          </a:xfrm>
          <a:prstGeom prst="rect">
            <a:avLst/>
          </a:prstGeom>
        </p:spPr>
      </p:pic>
      <p:pic>
        <p:nvPicPr>
          <p:cNvPr id="9" name="Picture 8">
            <a:extLst>
              <a:ext uri="{FF2B5EF4-FFF2-40B4-BE49-F238E27FC236}">
                <a16:creationId xmlns:a16="http://schemas.microsoft.com/office/drawing/2014/main" id="{C8674641-C656-4AFB-8306-1EFC39D264DB}"/>
              </a:ext>
            </a:extLst>
          </p:cNvPr>
          <p:cNvPicPr>
            <a:picLocks noChangeAspect="1"/>
          </p:cNvPicPr>
          <p:nvPr>
            <p:custDataLst>
              <p:tags r:id="rId6"/>
            </p:custDataLst>
          </p:nvPr>
        </p:nvPicPr>
        <p:blipFill>
          <a:blip r:embed="rId13"/>
          <a:srcRect/>
          <a:stretch/>
        </p:blipFill>
        <p:spPr>
          <a:xfrm>
            <a:off x="209073" y="1347147"/>
            <a:ext cx="6775846" cy="3249348"/>
          </a:xfrm>
          <a:prstGeom prst="rect">
            <a:avLst/>
          </a:prstGeom>
        </p:spPr>
      </p:pic>
      <p:sp>
        <p:nvSpPr>
          <p:cNvPr id="2" name="TextBox 1">
            <a:extLst>
              <a:ext uri="{FF2B5EF4-FFF2-40B4-BE49-F238E27FC236}">
                <a16:creationId xmlns:a16="http://schemas.microsoft.com/office/drawing/2014/main" id="{49EF55FD-BC59-40EE-86E7-513B3FE9284E}"/>
              </a:ext>
            </a:extLst>
          </p:cNvPr>
          <p:cNvSpPr txBox="1"/>
          <p:nvPr>
            <p:custDataLst>
              <p:tags r:id="rId7"/>
            </p:custDataLst>
          </p:nvPr>
        </p:nvSpPr>
        <p:spPr>
          <a:xfrm>
            <a:off x="100601" y="4663517"/>
            <a:ext cx="3625850" cy="261610"/>
          </a:xfrm>
          <a:prstGeom prst="rect">
            <a:avLst/>
          </a:prstGeom>
          <a:noFill/>
        </p:spPr>
        <p:txBody>
          <a:bodyPr wrap="square" rtlCol="0">
            <a:spAutoFit/>
          </a:bodyPr>
          <a:lstStyle/>
          <a:p>
            <a:r>
              <a:rPr lang="fr-LU" sz="1050"/>
              <a:t>https://github.com/oseiskar/corona-sniffer</a:t>
            </a:r>
          </a:p>
        </p:txBody>
      </p:sp>
    </p:spTree>
    <p:extLst>
      <p:ext uri="{BB962C8B-B14F-4D97-AF65-F5344CB8AC3E}">
        <p14:creationId xmlns:p14="http://schemas.microsoft.com/office/powerpoint/2010/main" val="1906424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8"/>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7"/>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
                                            <p:txEl>
                                              <p:pRg st="5" end="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xEl>
                                              <p:pRg st="8" end="8"/>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70">
            <a:extLst>
              <a:ext uri="{FF2B5EF4-FFF2-40B4-BE49-F238E27FC236}">
                <a16:creationId xmlns:a16="http://schemas.microsoft.com/office/drawing/2014/main" id="{67ADDAAC-6641-4395-8652-12E3D2CDA8E5}"/>
              </a:ext>
            </a:extLst>
          </p:cNvPr>
          <p:cNvSpPr txBox="1"/>
          <p:nvPr>
            <p:custDataLst>
              <p:tags r:id="rId1"/>
            </p:custDataLst>
          </p:nvPr>
        </p:nvSpPr>
        <p:spPr>
          <a:xfrm>
            <a:off x="209073" y="424362"/>
            <a:ext cx="8087202" cy="1323439"/>
          </a:xfrm>
          <a:prstGeom prst="rect">
            <a:avLst/>
          </a:prstGeom>
          <a:noFill/>
        </p:spPr>
        <p:txBody>
          <a:bodyPr wrap="square" rtlCol="0">
            <a:spAutoFit/>
          </a:bodyPr>
          <a:lstStyle/>
          <a:p>
            <a:r>
              <a:rPr lang="en-US" sz="2400">
                <a:solidFill>
                  <a:srgbClr val="7030A0"/>
                </a:solidFill>
                <a:latin typeface="Helvetica" pitchFamily="2" charset="0"/>
                <a:cs typeface="Arial"/>
              </a:rPr>
              <a:t>3. CONTACT TRACING APPS</a:t>
            </a:r>
          </a:p>
          <a:p>
            <a:r>
              <a:rPr lang="en-US" sz="2400">
                <a:solidFill>
                  <a:srgbClr val="7030A0"/>
                </a:solidFill>
                <a:latin typeface="Helvetica" pitchFamily="2" charset="0"/>
                <a:sym typeface="Wingdings" panose="05000000000000000000" pitchFamily="2" charset="2"/>
              </a:rPr>
              <a:t>What append if there is a breach ?</a:t>
            </a:r>
            <a:endParaRPr lang="en-US" sz="2400">
              <a:solidFill>
                <a:srgbClr val="7030A0"/>
              </a:solidFill>
              <a:latin typeface="Helvetica" pitchFamily="2" charset="0"/>
              <a:cs typeface="Arial"/>
            </a:endParaRPr>
          </a:p>
          <a:p>
            <a:endParaRPr lang="en-US" sz="3200">
              <a:solidFill>
                <a:srgbClr val="7030A0"/>
              </a:solidFill>
              <a:latin typeface="Helvetica" pitchFamily="2" charset="0"/>
              <a:cs typeface="Arial"/>
            </a:endParaRPr>
          </a:p>
        </p:txBody>
      </p:sp>
      <p:sp>
        <p:nvSpPr>
          <p:cNvPr id="3" name="Content Placeholder 2">
            <a:extLst>
              <a:ext uri="{FF2B5EF4-FFF2-40B4-BE49-F238E27FC236}">
                <a16:creationId xmlns:a16="http://schemas.microsoft.com/office/drawing/2014/main" id="{6377E8BE-452F-4666-A784-50D0FC080972}"/>
              </a:ext>
            </a:extLst>
          </p:cNvPr>
          <p:cNvSpPr txBox="1">
            <a:spLocks/>
          </p:cNvSpPr>
          <p:nvPr>
            <p:custDataLst>
              <p:tags r:id="rId2"/>
            </p:custDataLst>
          </p:nvPr>
        </p:nvSpPr>
        <p:spPr>
          <a:xfrm>
            <a:off x="209073" y="1507105"/>
            <a:ext cx="3020356" cy="3263504"/>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On client side</a:t>
            </a:r>
          </a:p>
          <a:p>
            <a:pPr lvl="1"/>
            <a:r>
              <a:rPr lang="en-US"/>
              <a:t>Bluetooth breach</a:t>
            </a:r>
          </a:p>
          <a:p>
            <a:pPr lvl="1"/>
            <a:r>
              <a:rPr lang="en-US"/>
              <a:t>Private key stolen</a:t>
            </a:r>
          </a:p>
          <a:p>
            <a:r>
              <a:rPr lang="en-US"/>
              <a:t>On server side</a:t>
            </a:r>
          </a:p>
          <a:p>
            <a:pPr lvl="1"/>
            <a:r>
              <a:rPr lang="en-US"/>
              <a:t>Server compromised</a:t>
            </a:r>
          </a:p>
          <a:p>
            <a:pPr lvl="2"/>
            <a:r>
              <a:rPr lang="en-US"/>
              <a:t>Centralized</a:t>
            </a:r>
          </a:p>
          <a:p>
            <a:pPr lvl="2"/>
            <a:r>
              <a:rPr lang="en-US"/>
              <a:t>Decentralized</a:t>
            </a:r>
          </a:p>
        </p:txBody>
      </p:sp>
      <p:pic>
        <p:nvPicPr>
          <p:cNvPr id="4" name="Picture 3">
            <a:extLst>
              <a:ext uri="{FF2B5EF4-FFF2-40B4-BE49-F238E27FC236}">
                <a16:creationId xmlns:a16="http://schemas.microsoft.com/office/drawing/2014/main" id="{AB3F4BE8-BA05-4E90-8BA6-4F9733A4E9BC}"/>
              </a:ext>
            </a:extLst>
          </p:cNvPr>
          <p:cNvPicPr>
            <a:picLocks noChangeAspect="1"/>
          </p:cNvPicPr>
          <p:nvPr>
            <p:custDataLst>
              <p:tags r:id="rId3"/>
            </p:custDataLst>
          </p:nvPr>
        </p:nvPicPr>
        <p:blipFill>
          <a:blip r:embed="rId8"/>
          <a:stretch>
            <a:fillRect/>
          </a:stretch>
        </p:blipFill>
        <p:spPr>
          <a:xfrm>
            <a:off x="2334847" y="1747801"/>
            <a:ext cx="6650880" cy="2503903"/>
          </a:xfrm>
          <a:prstGeom prst="rect">
            <a:avLst/>
          </a:prstGeom>
        </p:spPr>
      </p:pic>
      <p:pic>
        <p:nvPicPr>
          <p:cNvPr id="5" name="Picture 4">
            <a:extLst>
              <a:ext uri="{FF2B5EF4-FFF2-40B4-BE49-F238E27FC236}">
                <a16:creationId xmlns:a16="http://schemas.microsoft.com/office/drawing/2014/main" id="{BE50C9B2-2BA7-4EC1-AD68-F581DA359C25}"/>
              </a:ext>
            </a:extLst>
          </p:cNvPr>
          <p:cNvPicPr>
            <a:picLocks noChangeAspect="1"/>
          </p:cNvPicPr>
          <p:nvPr>
            <p:custDataLst>
              <p:tags r:id="rId4"/>
            </p:custDataLst>
          </p:nvPr>
        </p:nvPicPr>
        <p:blipFill>
          <a:blip r:embed="rId9"/>
          <a:stretch>
            <a:fillRect/>
          </a:stretch>
        </p:blipFill>
        <p:spPr>
          <a:xfrm>
            <a:off x="64260" y="1252161"/>
            <a:ext cx="9015479" cy="3325440"/>
          </a:xfrm>
          <a:prstGeom prst="rect">
            <a:avLst/>
          </a:prstGeom>
        </p:spPr>
      </p:pic>
      <p:pic>
        <p:nvPicPr>
          <p:cNvPr id="7" name="Picture 6">
            <a:extLst>
              <a:ext uri="{FF2B5EF4-FFF2-40B4-BE49-F238E27FC236}">
                <a16:creationId xmlns:a16="http://schemas.microsoft.com/office/drawing/2014/main" id="{5B59B884-27AE-410E-AB5B-D05EC79061CD}"/>
              </a:ext>
            </a:extLst>
          </p:cNvPr>
          <p:cNvPicPr>
            <a:picLocks noChangeAspect="1"/>
          </p:cNvPicPr>
          <p:nvPr>
            <p:custDataLst>
              <p:tags r:id="rId5"/>
            </p:custDataLst>
          </p:nvPr>
        </p:nvPicPr>
        <p:blipFill>
          <a:blip r:embed="rId10"/>
          <a:stretch>
            <a:fillRect/>
          </a:stretch>
        </p:blipFill>
        <p:spPr>
          <a:xfrm>
            <a:off x="3174933" y="271961"/>
            <a:ext cx="5810794" cy="4774143"/>
          </a:xfrm>
          <a:prstGeom prst="rect">
            <a:avLst/>
          </a:prstGeom>
        </p:spPr>
      </p:pic>
    </p:spTree>
    <p:extLst>
      <p:ext uri="{BB962C8B-B14F-4D97-AF65-F5344CB8AC3E}">
        <p14:creationId xmlns:p14="http://schemas.microsoft.com/office/powerpoint/2010/main" val="315501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5"/>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7"/>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6478112"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Takeaways</a:t>
            </a:r>
          </a:p>
        </p:txBody>
      </p:sp>
      <p:sp>
        <p:nvSpPr>
          <p:cNvPr id="2" name="TextBox 1">
            <a:extLst>
              <a:ext uri="{FF2B5EF4-FFF2-40B4-BE49-F238E27FC236}">
                <a16:creationId xmlns:a16="http://schemas.microsoft.com/office/drawing/2014/main" id="{2CEF1B7E-C78A-4E45-AF68-C88303977A3F}"/>
              </a:ext>
            </a:extLst>
          </p:cNvPr>
          <p:cNvSpPr txBox="1"/>
          <p:nvPr>
            <p:custDataLst>
              <p:tags r:id="rId2"/>
            </p:custDataLst>
          </p:nvPr>
        </p:nvSpPr>
        <p:spPr>
          <a:xfrm>
            <a:off x="341432" y="1000232"/>
            <a:ext cx="8616714" cy="3754874"/>
          </a:xfrm>
          <a:prstGeom prst="rect">
            <a:avLst/>
          </a:prstGeom>
          <a:noFill/>
        </p:spPr>
        <p:txBody>
          <a:bodyPr wrap="square" rtlCol="0">
            <a:spAutoFit/>
          </a:bodyPr>
          <a:lstStyle/>
          <a:p>
            <a:r>
              <a:rPr lang="en-US" b="1" dirty="0">
                <a:solidFill>
                  <a:srgbClr val="7269AD"/>
                </a:solidFill>
              </a:rPr>
              <a:t>Covid applications arise quickly and are now used by a huge amount of users</a:t>
            </a:r>
          </a:p>
          <a:p>
            <a:endParaRPr lang="en-US" b="1" dirty="0"/>
          </a:p>
          <a:p>
            <a:pPr marL="285750" indent="-285750">
              <a:buFont typeface="Arial" panose="020B0604020202020204" pitchFamily="34" charset="0"/>
              <a:buChar char="•"/>
            </a:pPr>
            <a:r>
              <a:rPr lang="en-US" b="1" dirty="0"/>
              <a:t>Different purposes: </a:t>
            </a:r>
            <a:r>
              <a:rPr lang="en-US" dirty="0"/>
              <a:t>Getting your covid certificates, Scanning valid certificates for restaurants/events or alerting in case of contact with Covid case.</a:t>
            </a:r>
          </a:p>
          <a:p>
            <a:r>
              <a:rPr lang="en-US" dirty="0"/>
              <a:t>They treat sensitive data and personal information of million people. </a:t>
            </a:r>
            <a:r>
              <a:rPr lang="en-US" b="1" dirty="0"/>
              <a:t>Security is essential</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dirty="0"/>
              <a:t>Just like an ID card, </a:t>
            </a:r>
            <a:r>
              <a:rPr lang="en-US" b="1" dirty="0"/>
              <a:t>Covid QR codes </a:t>
            </a:r>
            <a:r>
              <a:rPr lang="en-US" dirty="0"/>
              <a:t>should not be shared online because they contain personal data.</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dirty="0"/>
              <a:t>There are no evidence of users tracking or exfiltration of personal data in Covid apps. The apps are typically less intrusive in term of permissions and privacy than the top 10 most used apps. (Facebook, Messenger, Instagram,…)</a:t>
            </a:r>
            <a:endParaRPr lang="en-US"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ir design model is overall well-though and follow good practice in term of security although improvements are always welcom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100% security does not exist </a:t>
            </a:r>
            <a:r>
              <a:rPr lang="en-US" b="1" dirty="0">
                <a:sym typeface="Wingdings" panose="05000000000000000000" pitchFamily="2" charset="2"/>
              </a:rPr>
              <a:t> </a:t>
            </a:r>
            <a:r>
              <a:rPr lang="en-US" dirty="0">
                <a:sym typeface="Wingdings" panose="05000000000000000000" pitchFamily="2" charset="2"/>
              </a:rPr>
              <a:t>checking</a:t>
            </a:r>
            <a:r>
              <a:rPr lang="en-US" b="1" dirty="0">
                <a:sym typeface="Wingdings" panose="05000000000000000000" pitchFamily="2" charset="2"/>
              </a:rPr>
              <a:t> </a:t>
            </a:r>
            <a:r>
              <a:rPr lang="en-US" dirty="0"/>
              <a:t>for vulnerabilities and applying security patches is required. Open source </a:t>
            </a:r>
            <a:r>
              <a:rPr lang="en-US" dirty="0">
                <a:sym typeface="Wingdings" panose="05000000000000000000" pitchFamily="2" charset="2"/>
              </a:rPr>
              <a:t>= more researchers are able to contribute</a:t>
            </a:r>
            <a:endParaRPr lang="en-US" dirty="0"/>
          </a:p>
        </p:txBody>
      </p:sp>
    </p:spTree>
    <p:extLst>
      <p:ext uri="{BB962C8B-B14F-4D97-AF65-F5344CB8AC3E}">
        <p14:creationId xmlns:p14="http://schemas.microsoft.com/office/powerpoint/2010/main" val="20880343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6478112" cy="646331"/>
          </a:xfrm>
          <a:prstGeom prst="rect">
            <a:avLst/>
          </a:prstGeom>
          <a:noFill/>
        </p:spPr>
        <p:txBody>
          <a:bodyPr wrap="square" rtlCol="0">
            <a:spAutoFit/>
          </a:bodyPr>
          <a:lstStyle/>
          <a:p>
            <a:r>
              <a:rPr lang="en-US" sz="3600">
                <a:solidFill>
                  <a:srgbClr val="7030A0"/>
                </a:solidFill>
                <a:latin typeface="Helvetica" pitchFamily="2" charset="0"/>
              </a:rPr>
              <a:t>Thank you!</a:t>
            </a:r>
            <a:endParaRPr lang="en-US" sz="3600">
              <a:solidFill>
                <a:srgbClr val="7030A0"/>
              </a:solidFill>
              <a:latin typeface="Helvetica" pitchFamily="2" charset="0"/>
              <a:cs typeface="Arial"/>
              <a:sym typeface="Arial"/>
            </a:endParaRP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2826255" y="2293620"/>
            <a:ext cx="4337157" cy="830997"/>
          </a:xfrm>
          <a:prstGeom prst="rect">
            <a:avLst/>
          </a:prstGeom>
          <a:noFill/>
        </p:spPr>
        <p:txBody>
          <a:bodyPr wrap="square" rtlCol="0">
            <a:spAutoFit/>
          </a:bodyPr>
          <a:lstStyle/>
          <a:p>
            <a:r>
              <a:rPr lang="en-US" sz="4800">
                <a:solidFill>
                  <a:srgbClr val="B5B1D9"/>
                </a:solidFill>
                <a:latin typeface="Helvetica" pitchFamily="2" charset="0"/>
                <a:cs typeface="Arial"/>
                <a:sym typeface="Arial"/>
              </a:rPr>
              <a:t>Q&amp;A Session</a:t>
            </a:r>
          </a:p>
        </p:txBody>
      </p:sp>
    </p:spTree>
    <p:extLst>
      <p:ext uri="{BB962C8B-B14F-4D97-AF65-F5344CB8AC3E}">
        <p14:creationId xmlns:p14="http://schemas.microsoft.com/office/powerpoint/2010/main" val="2796270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5355280"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Luxembourg</a:t>
            </a: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654224" y="878832"/>
            <a:ext cx="4958380" cy="400110"/>
          </a:xfrm>
          <a:prstGeom prst="rect">
            <a:avLst/>
          </a:prstGeom>
          <a:noFill/>
        </p:spPr>
        <p:txBody>
          <a:bodyPr wrap="square" rtlCol="0">
            <a:spAutoFit/>
          </a:bodyPr>
          <a:lstStyle/>
          <a:p>
            <a:r>
              <a:rPr lang="en-US" sz="2000">
                <a:solidFill>
                  <a:srgbClr val="B5B1D9"/>
                </a:solidFill>
                <a:latin typeface="Helvetica" pitchFamily="2" charset="0"/>
              </a:rPr>
              <a:t>1. Single application</a:t>
            </a:r>
            <a:endParaRPr lang="en-US" sz="2000">
              <a:solidFill>
                <a:srgbClr val="B5B1D9"/>
              </a:solidFill>
              <a:latin typeface="Helvetica" pitchFamily="2" charset="0"/>
              <a:cs typeface="Arial"/>
              <a:sym typeface="Arial"/>
            </a:endParaRPr>
          </a:p>
        </p:txBody>
      </p:sp>
      <p:pic>
        <p:nvPicPr>
          <p:cNvPr id="5" name="Picture 4" descr="A picture containing arrow&#10;&#10;Description automatically generated">
            <a:extLst>
              <a:ext uri="{FF2B5EF4-FFF2-40B4-BE49-F238E27FC236}">
                <a16:creationId xmlns:a16="http://schemas.microsoft.com/office/drawing/2014/main" id="{4E0CF58D-C026-4E77-AA82-3DCE2B38C2AF}"/>
              </a:ext>
            </a:extLst>
          </p:cNvPr>
          <p:cNvPicPr>
            <a:picLocks noChangeAspect="1"/>
          </p:cNvPicPr>
          <p:nvPr>
            <p:custDataLst>
              <p:tags r:id="rId3"/>
            </p:custDataLst>
          </p:nvPr>
        </p:nvPicPr>
        <p:blipFill>
          <a:blip r:embed="rId9"/>
          <a:stretch>
            <a:fillRect/>
          </a:stretch>
        </p:blipFill>
        <p:spPr>
          <a:xfrm>
            <a:off x="0" y="1465349"/>
            <a:ext cx="1207188" cy="1207188"/>
          </a:xfrm>
          <a:prstGeom prst="rect">
            <a:avLst/>
          </a:prstGeom>
        </p:spPr>
      </p:pic>
      <p:pic>
        <p:nvPicPr>
          <p:cNvPr id="1028" name="Picture 4" descr="Une nouvelle fonctionnalité dans l&amp;#39;app CovidCheck - Coronavirus -  Informations officielles - Luxembourg">
            <a:extLst>
              <a:ext uri="{FF2B5EF4-FFF2-40B4-BE49-F238E27FC236}">
                <a16:creationId xmlns:a16="http://schemas.microsoft.com/office/drawing/2014/main" id="{633CDE16-0B82-4843-B045-A895D7120022}"/>
              </a:ext>
            </a:extLst>
          </p:cNvPr>
          <p:cNvPicPr>
            <a:picLocks noChangeAspect="1" noChangeArrowheads="1"/>
          </p:cNvPicPr>
          <p:nvPr>
            <p:custDataLst>
              <p:tags r:id="rId4"/>
            </p:custDataLst>
          </p:nvPr>
        </p:nvPicPr>
        <p:blipFill rotWithShape="1">
          <a:blip r:embed="rId10">
            <a:extLst>
              <a:ext uri="{28A0092B-C50C-407E-A947-70E740481C1C}">
                <a14:useLocalDpi xmlns:a14="http://schemas.microsoft.com/office/drawing/2010/main" val="0"/>
              </a:ext>
            </a:extLst>
          </a:blip>
          <a:srcRect l="13925" t="9335" r="65825" b="5826"/>
          <a:stretch/>
        </p:blipFill>
        <p:spPr bwMode="auto">
          <a:xfrm>
            <a:off x="3648283" y="1716188"/>
            <a:ext cx="1328808" cy="278374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Une nouvelle fonctionnalité dans l&amp;#39;app CovidCheck - Coronavirus -  Informations officielles - Luxembourg">
            <a:extLst>
              <a:ext uri="{FF2B5EF4-FFF2-40B4-BE49-F238E27FC236}">
                <a16:creationId xmlns:a16="http://schemas.microsoft.com/office/drawing/2014/main" id="{03D9A24B-EDA6-441F-A875-54389798E5B6}"/>
              </a:ext>
            </a:extLst>
          </p:cNvPr>
          <p:cNvPicPr>
            <a:picLocks noChangeAspect="1" noChangeArrowheads="1"/>
          </p:cNvPicPr>
          <p:nvPr>
            <p:custDataLst>
              <p:tags r:id="rId5"/>
            </p:custDataLst>
          </p:nvPr>
        </p:nvPicPr>
        <p:blipFill rotWithShape="1">
          <a:blip r:embed="rId10">
            <a:extLst>
              <a:ext uri="{28A0092B-C50C-407E-A947-70E740481C1C}">
                <a14:useLocalDpi xmlns:a14="http://schemas.microsoft.com/office/drawing/2010/main" val="0"/>
              </a:ext>
            </a:extLst>
          </a:blip>
          <a:srcRect l="39975" t="9335" r="39775" b="5826"/>
          <a:stretch/>
        </p:blipFill>
        <p:spPr bwMode="auto">
          <a:xfrm>
            <a:off x="5529919" y="1716187"/>
            <a:ext cx="1328808" cy="278374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Une nouvelle fonctionnalité dans l&amp;#39;app CovidCheck - Coronavirus -  Informations officielles - Luxembourg">
            <a:extLst>
              <a:ext uri="{FF2B5EF4-FFF2-40B4-BE49-F238E27FC236}">
                <a16:creationId xmlns:a16="http://schemas.microsoft.com/office/drawing/2014/main" id="{5765D9B4-21A2-49EB-BF1F-8BC74861B8B7}"/>
              </a:ext>
            </a:extLst>
          </p:cNvPr>
          <p:cNvPicPr>
            <a:picLocks noChangeAspect="1" noChangeArrowheads="1"/>
          </p:cNvPicPr>
          <p:nvPr>
            <p:custDataLst>
              <p:tags r:id="rId6"/>
            </p:custDataLst>
          </p:nvPr>
        </p:nvPicPr>
        <p:blipFill rotWithShape="1">
          <a:blip r:embed="rId10">
            <a:extLst>
              <a:ext uri="{28A0092B-C50C-407E-A947-70E740481C1C}">
                <a14:useLocalDpi xmlns:a14="http://schemas.microsoft.com/office/drawing/2010/main" val="0"/>
              </a:ext>
            </a:extLst>
          </a:blip>
          <a:srcRect l="65865" t="9057" r="13885" b="6103"/>
          <a:stretch/>
        </p:blipFill>
        <p:spPr bwMode="auto">
          <a:xfrm>
            <a:off x="7411555" y="1716186"/>
            <a:ext cx="1328808" cy="278374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Trois certificats pour vous faciliter la vie">
            <a:extLst>
              <a:ext uri="{FF2B5EF4-FFF2-40B4-BE49-F238E27FC236}">
                <a16:creationId xmlns:a16="http://schemas.microsoft.com/office/drawing/2014/main" id="{3E02987A-FA40-4F3C-84D4-67B2D243C4A3}"/>
              </a:ext>
            </a:extLst>
          </p:cNvPr>
          <p:cNvPicPr>
            <a:picLocks noChangeAspect="1" noChangeArrowheads="1"/>
          </p:cNvPicPr>
          <p:nvPr>
            <p:custDataLst>
              <p:tags r:id="rId7"/>
            </p:custDataLst>
          </p:nvPr>
        </p:nvPicPr>
        <p:blipFill>
          <a:blip r:embed="rId11">
            <a:extLst>
              <a:ext uri="{28A0092B-C50C-407E-A947-70E740481C1C}">
                <a14:useLocalDpi xmlns:a14="http://schemas.microsoft.com/office/drawing/2010/main" val="0"/>
              </a:ext>
            </a:extLst>
          </a:blip>
          <a:srcRect/>
          <a:stretch>
            <a:fillRect/>
          </a:stretch>
        </p:blipFill>
        <p:spPr bwMode="auto">
          <a:xfrm>
            <a:off x="1613203" y="1716186"/>
            <a:ext cx="1482252" cy="2783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620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5355280"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Germany</a:t>
            </a:r>
          </a:p>
        </p:txBody>
      </p:sp>
      <p:pic>
        <p:nvPicPr>
          <p:cNvPr id="18" name="Picture 17" descr="A screenshot of a phone&#10;&#10;Description automatically generated with medium confidence">
            <a:extLst>
              <a:ext uri="{FF2B5EF4-FFF2-40B4-BE49-F238E27FC236}">
                <a16:creationId xmlns:a16="http://schemas.microsoft.com/office/drawing/2014/main" id="{E38C8A1C-4224-4AAD-849A-C350470AD31A}"/>
              </a:ext>
            </a:extLst>
          </p:cNvPr>
          <p:cNvPicPr>
            <a:picLocks noChangeAspect="1"/>
          </p:cNvPicPr>
          <p:nvPr>
            <p:custDataLst>
              <p:tags r:id="rId2"/>
            </p:custDataLst>
          </p:nvPr>
        </p:nvPicPr>
        <p:blipFill rotWithShape="1">
          <a:blip r:embed="rId10"/>
          <a:srcRect t="5461"/>
          <a:stretch/>
        </p:blipFill>
        <p:spPr>
          <a:xfrm>
            <a:off x="1367243" y="1524841"/>
            <a:ext cx="1488250" cy="3044838"/>
          </a:xfrm>
          <a:prstGeom prst="rect">
            <a:avLst/>
          </a:prstGeom>
        </p:spPr>
      </p:pic>
      <p:pic>
        <p:nvPicPr>
          <p:cNvPr id="19" name="Picture 18" descr="Text&#10;&#10;Description automatically generated">
            <a:extLst>
              <a:ext uri="{FF2B5EF4-FFF2-40B4-BE49-F238E27FC236}">
                <a16:creationId xmlns:a16="http://schemas.microsoft.com/office/drawing/2014/main" id="{0CCF8334-F5AA-4599-AE90-F4FCB54C67E9}"/>
              </a:ext>
            </a:extLst>
          </p:cNvPr>
          <p:cNvPicPr>
            <a:picLocks noChangeAspect="1"/>
          </p:cNvPicPr>
          <p:nvPr>
            <p:custDataLst>
              <p:tags r:id="rId3"/>
            </p:custDataLst>
          </p:nvPr>
        </p:nvPicPr>
        <p:blipFill rotWithShape="1">
          <a:blip r:embed="rId11"/>
          <a:srcRect t="5897"/>
          <a:stretch/>
        </p:blipFill>
        <p:spPr>
          <a:xfrm>
            <a:off x="4466554" y="1524841"/>
            <a:ext cx="1495143" cy="3044838"/>
          </a:xfrm>
          <a:prstGeom prst="rect">
            <a:avLst/>
          </a:prstGeom>
        </p:spPr>
      </p:pic>
      <p:pic>
        <p:nvPicPr>
          <p:cNvPr id="20" name="Picture 19" descr="Icon&#10;&#10;Description automatically generated">
            <a:extLst>
              <a:ext uri="{FF2B5EF4-FFF2-40B4-BE49-F238E27FC236}">
                <a16:creationId xmlns:a16="http://schemas.microsoft.com/office/drawing/2014/main" id="{1C700B1C-0591-486E-86D6-6A166B3F0D0C}"/>
              </a:ext>
            </a:extLst>
          </p:cNvPr>
          <p:cNvPicPr>
            <a:picLocks noChangeAspect="1"/>
          </p:cNvPicPr>
          <p:nvPr>
            <p:custDataLst>
              <p:tags r:id="rId4"/>
            </p:custDataLst>
          </p:nvPr>
        </p:nvPicPr>
        <p:blipFill>
          <a:blip r:embed="rId12"/>
          <a:stretch>
            <a:fillRect/>
          </a:stretch>
        </p:blipFill>
        <p:spPr>
          <a:xfrm>
            <a:off x="143429" y="1524841"/>
            <a:ext cx="1021590" cy="1179937"/>
          </a:xfrm>
          <a:prstGeom prst="rect">
            <a:avLst/>
          </a:prstGeom>
        </p:spPr>
      </p:pic>
      <p:pic>
        <p:nvPicPr>
          <p:cNvPr id="3" name="Picture 2" descr="A screenshot of a phone&#10;&#10;Description automatically generated with medium confidence">
            <a:extLst>
              <a:ext uri="{FF2B5EF4-FFF2-40B4-BE49-F238E27FC236}">
                <a16:creationId xmlns:a16="http://schemas.microsoft.com/office/drawing/2014/main" id="{FBA55EC2-622B-44A8-860E-4E262BE500CF}"/>
              </a:ext>
            </a:extLst>
          </p:cNvPr>
          <p:cNvPicPr>
            <a:picLocks noChangeAspect="1"/>
          </p:cNvPicPr>
          <p:nvPr>
            <p:custDataLst>
              <p:tags r:id="rId5"/>
            </p:custDataLst>
          </p:nvPr>
        </p:nvPicPr>
        <p:blipFill>
          <a:blip r:embed="rId13"/>
          <a:stretch>
            <a:fillRect/>
          </a:stretch>
        </p:blipFill>
        <p:spPr>
          <a:xfrm>
            <a:off x="7572758" y="1524197"/>
            <a:ext cx="1407124" cy="3045160"/>
          </a:xfrm>
          <a:prstGeom prst="rect">
            <a:avLst/>
          </a:prstGeom>
        </p:spPr>
      </p:pic>
      <p:pic>
        <p:nvPicPr>
          <p:cNvPr id="5" name="Picture 4" descr="Qr code&#10;&#10;Description automatically generated">
            <a:extLst>
              <a:ext uri="{FF2B5EF4-FFF2-40B4-BE49-F238E27FC236}">
                <a16:creationId xmlns:a16="http://schemas.microsoft.com/office/drawing/2014/main" id="{1BFCAF98-AF5D-4D9E-A111-A56A6A8E01E5}"/>
              </a:ext>
            </a:extLst>
          </p:cNvPr>
          <p:cNvPicPr>
            <a:picLocks noChangeAspect="1"/>
          </p:cNvPicPr>
          <p:nvPr>
            <p:custDataLst>
              <p:tags r:id="rId6"/>
            </p:custDataLst>
          </p:nvPr>
        </p:nvPicPr>
        <p:blipFill>
          <a:blip r:embed="rId14"/>
          <a:stretch>
            <a:fillRect/>
          </a:stretch>
        </p:blipFill>
        <p:spPr>
          <a:xfrm>
            <a:off x="6063740" y="1524519"/>
            <a:ext cx="1406975" cy="3044838"/>
          </a:xfrm>
          <a:prstGeom prst="rect">
            <a:avLst/>
          </a:prstGeom>
        </p:spPr>
      </p:pic>
      <p:pic>
        <p:nvPicPr>
          <p:cNvPr id="7" name="Picture 6" descr="A screenshot of a phone&#10;&#10;Description automatically generated with medium confidence">
            <a:extLst>
              <a:ext uri="{FF2B5EF4-FFF2-40B4-BE49-F238E27FC236}">
                <a16:creationId xmlns:a16="http://schemas.microsoft.com/office/drawing/2014/main" id="{638EC782-FD2B-4059-9E75-6903AC958E51}"/>
              </a:ext>
            </a:extLst>
          </p:cNvPr>
          <p:cNvPicPr>
            <a:picLocks noChangeAspect="1"/>
          </p:cNvPicPr>
          <p:nvPr>
            <p:custDataLst>
              <p:tags r:id="rId7"/>
            </p:custDataLst>
          </p:nvPr>
        </p:nvPicPr>
        <p:blipFill>
          <a:blip r:embed="rId15"/>
          <a:stretch>
            <a:fillRect/>
          </a:stretch>
        </p:blipFill>
        <p:spPr>
          <a:xfrm>
            <a:off x="2957536" y="1524841"/>
            <a:ext cx="1406975" cy="3044838"/>
          </a:xfrm>
          <a:prstGeom prst="rect">
            <a:avLst/>
          </a:prstGeom>
        </p:spPr>
      </p:pic>
    </p:spTree>
    <p:extLst>
      <p:ext uri="{BB962C8B-B14F-4D97-AF65-F5344CB8AC3E}">
        <p14:creationId xmlns:p14="http://schemas.microsoft.com/office/powerpoint/2010/main" val="19082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5355280"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France</a:t>
            </a: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654224" y="878832"/>
            <a:ext cx="4958380" cy="400110"/>
          </a:xfrm>
          <a:prstGeom prst="rect">
            <a:avLst/>
          </a:prstGeom>
          <a:noFill/>
        </p:spPr>
        <p:txBody>
          <a:bodyPr wrap="square" rtlCol="0">
            <a:spAutoFit/>
          </a:bodyPr>
          <a:lstStyle/>
          <a:p>
            <a:r>
              <a:rPr lang="en-US" sz="2000">
                <a:solidFill>
                  <a:srgbClr val="B5B1D9"/>
                </a:solidFill>
                <a:latin typeface="Helvetica" pitchFamily="2" charset="0"/>
              </a:rPr>
              <a:t>2 Different applications</a:t>
            </a:r>
            <a:endParaRPr lang="en-US" sz="2000">
              <a:solidFill>
                <a:srgbClr val="B5B1D9"/>
              </a:solidFill>
              <a:latin typeface="Helvetica" pitchFamily="2" charset="0"/>
              <a:cs typeface="Arial"/>
              <a:sym typeface="Arial"/>
            </a:endParaRPr>
          </a:p>
        </p:txBody>
      </p:sp>
      <p:pic>
        <p:nvPicPr>
          <p:cNvPr id="18" name="Picture 17" descr="A screenshot of a phone&#10;&#10;Description automatically generated with low confidence">
            <a:extLst>
              <a:ext uri="{FF2B5EF4-FFF2-40B4-BE49-F238E27FC236}">
                <a16:creationId xmlns:a16="http://schemas.microsoft.com/office/drawing/2014/main" id="{37C7E8E5-59AF-4DD6-80CE-256DD5DD470A}"/>
              </a:ext>
            </a:extLst>
          </p:cNvPr>
          <p:cNvPicPr>
            <a:picLocks noChangeAspect="1"/>
          </p:cNvPicPr>
          <p:nvPr>
            <p:custDataLst>
              <p:tags r:id="rId3"/>
            </p:custDataLst>
          </p:nvPr>
        </p:nvPicPr>
        <p:blipFill rotWithShape="1">
          <a:blip r:embed="rId11"/>
          <a:srcRect t="4113" b="6288"/>
          <a:stretch/>
        </p:blipFill>
        <p:spPr>
          <a:xfrm>
            <a:off x="1115718" y="1525163"/>
            <a:ext cx="1587275" cy="3002387"/>
          </a:xfrm>
          <a:prstGeom prst="rect">
            <a:avLst/>
          </a:prstGeom>
        </p:spPr>
      </p:pic>
      <p:grpSp>
        <p:nvGrpSpPr>
          <p:cNvPr id="19" name="Group 18">
            <a:extLst>
              <a:ext uri="{FF2B5EF4-FFF2-40B4-BE49-F238E27FC236}">
                <a16:creationId xmlns:a16="http://schemas.microsoft.com/office/drawing/2014/main" id="{4388EE0C-DB56-4D22-B1D7-976D334D6603}"/>
              </a:ext>
            </a:extLst>
          </p:cNvPr>
          <p:cNvGrpSpPr/>
          <p:nvPr>
            <p:custDataLst>
              <p:tags r:id="rId4"/>
            </p:custDataLst>
          </p:nvPr>
        </p:nvGrpSpPr>
        <p:grpSpPr>
          <a:xfrm>
            <a:off x="7274194" y="1440051"/>
            <a:ext cx="1597842" cy="2950819"/>
            <a:chOff x="4696315" y="2085174"/>
            <a:chExt cx="1224628" cy="2261585"/>
          </a:xfrm>
        </p:grpSpPr>
        <p:pic>
          <p:nvPicPr>
            <p:cNvPr id="20" name="Picture 19" descr="Graphical user interface, text, application, chat or text message&#10;&#10;Description automatically generated">
              <a:extLst>
                <a:ext uri="{FF2B5EF4-FFF2-40B4-BE49-F238E27FC236}">
                  <a16:creationId xmlns:a16="http://schemas.microsoft.com/office/drawing/2014/main" id="{473D0B13-7C38-42F0-A149-1173464EFE6E}"/>
                </a:ext>
              </a:extLst>
            </p:cNvPr>
            <p:cNvPicPr>
              <a:picLocks noChangeAspect="1"/>
            </p:cNvPicPr>
            <p:nvPr/>
          </p:nvPicPr>
          <p:blipFill rotWithShape="1">
            <a:blip r:embed="rId12"/>
            <a:srcRect t="4397" b="5141"/>
            <a:stretch/>
          </p:blipFill>
          <p:spPr>
            <a:xfrm>
              <a:off x="4696315" y="2085174"/>
              <a:ext cx="958749" cy="1922694"/>
            </a:xfrm>
            <a:prstGeom prst="rect">
              <a:avLst/>
            </a:prstGeom>
          </p:spPr>
        </p:pic>
        <p:pic>
          <p:nvPicPr>
            <p:cNvPr id="21" name="Picture 20" descr="Graphical user interface, text, application&#10;&#10;Description automatically generated">
              <a:extLst>
                <a:ext uri="{FF2B5EF4-FFF2-40B4-BE49-F238E27FC236}">
                  <a16:creationId xmlns:a16="http://schemas.microsoft.com/office/drawing/2014/main" id="{183BAAC8-9BF7-4CE7-B62A-84F0E7CCF2CE}"/>
                </a:ext>
              </a:extLst>
            </p:cNvPr>
            <p:cNvPicPr>
              <a:picLocks noChangeAspect="1"/>
            </p:cNvPicPr>
            <p:nvPr/>
          </p:nvPicPr>
          <p:blipFill rotWithShape="1">
            <a:blip r:embed="rId13"/>
            <a:srcRect t="4397" b="5141"/>
            <a:stretch/>
          </p:blipFill>
          <p:spPr>
            <a:xfrm>
              <a:off x="4967118" y="2424065"/>
              <a:ext cx="953825" cy="1922694"/>
            </a:xfrm>
            <a:prstGeom prst="rect">
              <a:avLst/>
            </a:prstGeom>
          </p:spPr>
        </p:pic>
      </p:grpSp>
      <p:pic>
        <p:nvPicPr>
          <p:cNvPr id="6" name="Picture 5" descr="Qr code&#10;&#10;Description automatically generated">
            <a:extLst>
              <a:ext uri="{FF2B5EF4-FFF2-40B4-BE49-F238E27FC236}">
                <a16:creationId xmlns:a16="http://schemas.microsoft.com/office/drawing/2014/main" id="{EA0A59F9-8AA6-4CC4-B02E-A0B422956A0D}"/>
              </a:ext>
            </a:extLst>
          </p:cNvPr>
          <p:cNvPicPr>
            <a:picLocks noChangeAspect="1"/>
          </p:cNvPicPr>
          <p:nvPr>
            <p:custDataLst>
              <p:tags r:id="rId5"/>
            </p:custDataLst>
          </p:nvPr>
        </p:nvPicPr>
        <p:blipFill>
          <a:blip r:embed="rId14"/>
          <a:stretch>
            <a:fillRect/>
          </a:stretch>
        </p:blipFill>
        <p:spPr>
          <a:xfrm>
            <a:off x="77819" y="1525163"/>
            <a:ext cx="785076" cy="1179576"/>
          </a:xfrm>
          <a:prstGeom prst="rect">
            <a:avLst/>
          </a:prstGeom>
        </p:spPr>
      </p:pic>
      <p:grpSp>
        <p:nvGrpSpPr>
          <p:cNvPr id="23" name="Group 22">
            <a:extLst>
              <a:ext uri="{FF2B5EF4-FFF2-40B4-BE49-F238E27FC236}">
                <a16:creationId xmlns:a16="http://schemas.microsoft.com/office/drawing/2014/main" id="{E5CA3640-2464-4E0A-AD9A-0B125805E177}"/>
              </a:ext>
            </a:extLst>
          </p:cNvPr>
          <p:cNvGrpSpPr/>
          <p:nvPr>
            <p:custDataLst>
              <p:tags r:id="rId6"/>
            </p:custDataLst>
          </p:nvPr>
        </p:nvGrpSpPr>
        <p:grpSpPr>
          <a:xfrm>
            <a:off x="5983023" y="1440051"/>
            <a:ext cx="1368244" cy="1333245"/>
            <a:chOff x="4449934" y="1549571"/>
            <a:chExt cx="1368244" cy="1333245"/>
          </a:xfrm>
        </p:grpSpPr>
        <p:pic>
          <p:nvPicPr>
            <p:cNvPr id="16" name="Picture 15">
              <a:extLst>
                <a:ext uri="{FF2B5EF4-FFF2-40B4-BE49-F238E27FC236}">
                  <a16:creationId xmlns:a16="http://schemas.microsoft.com/office/drawing/2014/main" id="{7DBA1F67-E37D-485B-A2EB-97AE342A1997}"/>
                </a:ext>
              </a:extLst>
            </p:cNvPr>
            <p:cNvPicPr>
              <a:picLocks noChangeAspect="1"/>
            </p:cNvPicPr>
            <p:nvPr/>
          </p:nvPicPr>
          <p:blipFill rotWithShape="1">
            <a:blip r:embed="rId15"/>
            <a:srcRect l="10255" t="67056" r="15444" b="15204"/>
            <a:stretch/>
          </p:blipFill>
          <p:spPr>
            <a:xfrm>
              <a:off x="4449934" y="2690917"/>
              <a:ext cx="1368244" cy="191899"/>
            </a:xfrm>
            <a:prstGeom prst="rect">
              <a:avLst/>
            </a:prstGeom>
          </p:spPr>
        </p:pic>
        <p:pic>
          <p:nvPicPr>
            <p:cNvPr id="22" name="Picture 21">
              <a:extLst>
                <a:ext uri="{FF2B5EF4-FFF2-40B4-BE49-F238E27FC236}">
                  <a16:creationId xmlns:a16="http://schemas.microsoft.com/office/drawing/2014/main" id="{C6B3C01C-1EF2-4D9C-8714-139BB29FE011}"/>
                </a:ext>
              </a:extLst>
            </p:cNvPr>
            <p:cNvPicPr>
              <a:picLocks noChangeAspect="1"/>
            </p:cNvPicPr>
            <p:nvPr/>
          </p:nvPicPr>
          <p:blipFill>
            <a:blip r:embed="rId16"/>
            <a:stretch>
              <a:fillRect/>
            </a:stretch>
          </p:blipFill>
          <p:spPr>
            <a:xfrm>
              <a:off x="4585032" y="1549571"/>
              <a:ext cx="1111680" cy="1111680"/>
            </a:xfrm>
            <a:prstGeom prst="rect">
              <a:avLst/>
            </a:prstGeom>
          </p:spPr>
        </p:pic>
      </p:grpSp>
      <p:pic>
        <p:nvPicPr>
          <p:cNvPr id="7" name="Picture 6" descr="A picture containing graphical user interface&#10;&#10;Description automatically generated">
            <a:extLst>
              <a:ext uri="{FF2B5EF4-FFF2-40B4-BE49-F238E27FC236}">
                <a16:creationId xmlns:a16="http://schemas.microsoft.com/office/drawing/2014/main" id="{CBF589C0-CA98-46FD-91EF-1238278F523B}"/>
              </a:ext>
            </a:extLst>
          </p:cNvPr>
          <p:cNvPicPr>
            <a:picLocks noChangeAspect="1"/>
          </p:cNvPicPr>
          <p:nvPr>
            <p:custDataLst>
              <p:tags r:id="rId7"/>
            </p:custDataLst>
          </p:nvPr>
        </p:nvPicPr>
        <p:blipFill>
          <a:blip r:embed="rId17"/>
          <a:stretch>
            <a:fillRect/>
          </a:stretch>
        </p:blipFill>
        <p:spPr>
          <a:xfrm>
            <a:off x="2851375" y="1519663"/>
            <a:ext cx="1419578" cy="2996887"/>
          </a:xfrm>
          <a:prstGeom prst="rect">
            <a:avLst/>
          </a:prstGeom>
        </p:spPr>
      </p:pic>
      <p:pic>
        <p:nvPicPr>
          <p:cNvPr id="10" name="Picture 9" descr="A picture containing qr code&#10;&#10;Description automatically generated">
            <a:extLst>
              <a:ext uri="{FF2B5EF4-FFF2-40B4-BE49-F238E27FC236}">
                <a16:creationId xmlns:a16="http://schemas.microsoft.com/office/drawing/2014/main" id="{2B4D188F-E22E-461E-A424-A7553B1E949F}"/>
              </a:ext>
            </a:extLst>
          </p:cNvPr>
          <p:cNvPicPr>
            <a:picLocks noChangeAspect="1"/>
          </p:cNvPicPr>
          <p:nvPr>
            <p:custDataLst>
              <p:tags r:id="rId8"/>
            </p:custDataLst>
          </p:nvPr>
        </p:nvPicPr>
        <p:blipFill>
          <a:blip r:embed="rId18"/>
          <a:stretch>
            <a:fillRect/>
          </a:stretch>
        </p:blipFill>
        <p:spPr>
          <a:xfrm>
            <a:off x="4478515" y="1519663"/>
            <a:ext cx="1419578" cy="2996887"/>
          </a:xfrm>
          <a:prstGeom prst="rect">
            <a:avLst/>
          </a:prstGeom>
        </p:spPr>
      </p:pic>
    </p:spTree>
    <p:extLst>
      <p:ext uri="{BB962C8B-B14F-4D97-AF65-F5344CB8AC3E}">
        <p14:creationId xmlns:p14="http://schemas.microsoft.com/office/powerpoint/2010/main" val="3017267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5355280"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Belgium</a:t>
            </a: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654224" y="878832"/>
            <a:ext cx="4958380" cy="400110"/>
          </a:xfrm>
          <a:prstGeom prst="rect">
            <a:avLst/>
          </a:prstGeom>
          <a:noFill/>
        </p:spPr>
        <p:txBody>
          <a:bodyPr wrap="square" rtlCol="0">
            <a:spAutoFit/>
          </a:bodyPr>
          <a:lstStyle/>
          <a:p>
            <a:r>
              <a:rPr lang="en-US" sz="2000">
                <a:solidFill>
                  <a:srgbClr val="B5B1D9"/>
                </a:solidFill>
                <a:latin typeface="Helvetica" pitchFamily="2" charset="0"/>
              </a:rPr>
              <a:t>3 Different applications</a:t>
            </a:r>
            <a:endParaRPr lang="en-US" sz="2000">
              <a:solidFill>
                <a:srgbClr val="B5B1D9"/>
              </a:solidFill>
              <a:latin typeface="Helvetica" pitchFamily="2" charset="0"/>
              <a:cs typeface="Arial"/>
              <a:sym typeface="Arial"/>
            </a:endParaRPr>
          </a:p>
        </p:txBody>
      </p:sp>
      <p:grpSp>
        <p:nvGrpSpPr>
          <p:cNvPr id="2" name="Group 1">
            <a:extLst>
              <a:ext uri="{FF2B5EF4-FFF2-40B4-BE49-F238E27FC236}">
                <a16:creationId xmlns:a16="http://schemas.microsoft.com/office/drawing/2014/main" id="{50010F97-A9CE-4192-8CE3-DAB1D6F1A95E}"/>
              </a:ext>
            </a:extLst>
          </p:cNvPr>
          <p:cNvGrpSpPr/>
          <p:nvPr>
            <p:custDataLst>
              <p:tags r:id="rId3"/>
            </p:custDataLst>
          </p:nvPr>
        </p:nvGrpSpPr>
        <p:grpSpPr>
          <a:xfrm>
            <a:off x="916286" y="1509161"/>
            <a:ext cx="1884914" cy="3075482"/>
            <a:chOff x="822750" y="1491906"/>
            <a:chExt cx="1965795" cy="3207449"/>
          </a:xfrm>
        </p:grpSpPr>
        <p:pic>
          <p:nvPicPr>
            <p:cNvPr id="46" name="Picture 45" descr="Graphical user interface, application, Teams&#10;&#10;Description automatically generated">
              <a:extLst>
                <a:ext uri="{FF2B5EF4-FFF2-40B4-BE49-F238E27FC236}">
                  <a16:creationId xmlns:a16="http://schemas.microsoft.com/office/drawing/2014/main" id="{0A44BA85-978A-4FCC-B96C-F48C5D903914}"/>
                </a:ext>
              </a:extLst>
            </p:cNvPr>
            <p:cNvPicPr>
              <a:picLocks noChangeAspect="1"/>
            </p:cNvPicPr>
            <p:nvPr/>
          </p:nvPicPr>
          <p:blipFill rotWithShape="1">
            <a:blip r:embed="rId8"/>
            <a:srcRect b="7186"/>
            <a:stretch/>
          </p:blipFill>
          <p:spPr>
            <a:xfrm>
              <a:off x="1077407" y="1491906"/>
              <a:ext cx="1440000" cy="2665073"/>
            </a:xfrm>
            <a:prstGeom prst="rect">
              <a:avLst/>
            </a:prstGeom>
            <a:ln>
              <a:solidFill>
                <a:schemeClr val="bg2"/>
              </a:solidFill>
            </a:ln>
          </p:spPr>
        </p:pic>
        <p:grpSp>
          <p:nvGrpSpPr>
            <p:cNvPr id="62" name="Group 61">
              <a:extLst>
                <a:ext uri="{FF2B5EF4-FFF2-40B4-BE49-F238E27FC236}">
                  <a16:creationId xmlns:a16="http://schemas.microsoft.com/office/drawing/2014/main" id="{B3758F69-8F50-408F-9100-2EA566A3BA02}"/>
                </a:ext>
              </a:extLst>
            </p:cNvPr>
            <p:cNvGrpSpPr/>
            <p:nvPr/>
          </p:nvGrpSpPr>
          <p:grpSpPr>
            <a:xfrm>
              <a:off x="822750" y="4199527"/>
              <a:ext cx="1965795" cy="499828"/>
              <a:chOff x="595368" y="4053297"/>
              <a:chExt cx="1965795" cy="499828"/>
            </a:xfrm>
          </p:grpSpPr>
          <p:pic>
            <p:nvPicPr>
              <p:cNvPr id="56" name="Picture 55" descr="Icon&#10;&#10;Description automatically generated">
                <a:extLst>
                  <a:ext uri="{FF2B5EF4-FFF2-40B4-BE49-F238E27FC236}">
                    <a16:creationId xmlns:a16="http://schemas.microsoft.com/office/drawing/2014/main" id="{8DF3E83A-168D-42B9-84C1-4C073134D11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45583" y1="49365" x2="48167" y2="48413"/>
                            <a14:foregroundMark x1="49083" y1="54286" x2="48083" y2="56984"/>
                            <a14:foregroundMark x1="53167" y1="47937" x2="55000" y2="43175"/>
                            <a14:foregroundMark x1="57083" y1="59524" x2="56500" y2="69841"/>
                            <a14:foregroundMark x1="56500" y1="69841" x2="62667" y2="67460"/>
                            <a14:foregroundMark x1="62667" y1="67460" x2="63333" y2="66825"/>
                          </a14:backgroundRemoval>
                        </a14:imgEffect>
                      </a14:imgLayer>
                    </a14:imgProps>
                  </a:ext>
                </a:extLst>
              </a:blip>
              <a:stretch>
                <a:fillRect/>
              </a:stretch>
            </p:blipFill>
            <p:spPr>
              <a:xfrm>
                <a:off x="595368" y="4053297"/>
                <a:ext cx="952054" cy="499828"/>
              </a:xfrm>
              <a:prstGeom prst="rect">
                <a:avLst/>
              </a:prstGeom>
            </p:spPr>
          </p:pic>
          <p:sp>
            <p:nvSpPr>
              <p:cNvPr id="57" name="TextBox 56">
                <a:extLst>
                  <a:ext uri="{FF2B5EF4-FFF2-40B4-BE49-F238E27FC236}">
                    <a16:creationId xmlns:a16="http://schemas.microsoft.com/office/drawing/2014/main" id="{F5F5BD91-0313-4306-ACAD-F25D04FD37EC}"/>
                  </a:ext>
                </a:extLst>
              </p:cNvPr>
              <p:cNvSpPr txBox="1"/>
              <p:nvPr/>
            </p:nvSpPr>
            <p:spPr>
              <a:xfrm>
                <a:off x="1237568" y="4122419"/>
                <a:ext cx="1323595" cy="373213"/>
              </a:xfrm>
              <a:prstGeom prst="rect">
                <a:avLst/>
              </a:prstGeom>
              <a:noFill/>
            </p:spPr>
            <p:txBody>
              <a:bodyPr wrap="square" rtlCol="0">
                <a:spAutoFit/>
              </a:bodyPr>
              <a:lstStyle/>
              <a:p>
                <a:r>
                  <a:rPr lang="en-US" err="1"/>
                  <a:t>Covid</a:t>
                </a:r>
                <a:r>
                  <a:rPr lang="en-US" b="1" err="1"/>
                  <a:t>Safe</a:t>
                </a:r>
                <a:endParaRPr lang="en-BE" b="1"/>
              </a:p>
            </p:txBody>
          </p:sp>
        </p:grpSp>
      </p:grpSp>
      <p:grpSp>
        <p:nvGrpSpPr>
          <p:cNvPr id="4" name="Group 3">
            <a:extLst>
              <a:ext uri="{FF2B5EF4-FFF2-40B4-BE49-F238E27FC236}">
                <a16:creationId xmlns:a16="http://schemas.microsoft.com/office/drawing/2014/main" id="{FE85AACC-BFA7-459D-AC17-3CF963683473}"/>
              </a:ext>
            </a:extLst>
          </p:cNvPr>
          <p:cNvGrpSpPr/>
          <p:nvPr>
            <p:custDataLst>
              <p:tags r:id="rId4"/>
            </p:custDataLst>
          </p:nvPr>
        </p:nvGrpSpPr>
        <p:grpSpPr>
          <a:xfrm>
            <a:off x="6602785" y="1509161"/>
            <a:ext cx="1463234" cy="3081171"/>
            <a:chOff x="7210079" y="1626192"/>
            <a:chExt cx="1473981" cy="3005590"/>
          </a:xfrm>
        </p:grpSpPr>
        <p:pic>
          <p:nvPicPr>
            <p:cNvPr id="44" name="Picture 43" descr="Graphical user interface, application, website&#10;&#10;Description automatically generated">
              <a:extLst>
                <a:ext uri="{FF2B5EF4-FFF2-40B4-BE49-F238E27FC236}">
                  <a16:creationId xmlns:a16="http://schemas.microsoft.com/office/drawing/2014/main" id="{F01C60C4-3CA1-4002-9B3F-D46C60BDEF1B}"/>
                </a:ext>
              </a:extLst>
            </p:cNvPr>
            <p:cNvPicPr>
              <a:picLocks noChangeAspect="1"/>
            </p:cNvPicPr>
            <p:nvPr/>
          </p:nvPicPr>
          <p:blipFill rotWithShape="1">
            <a:blip r:embed="rId11"/>
            <a:srcRect b="12561"/>
            <a:stretch/>
          </p:blipFill>
          <p:spPr>
            <a:xfrm>
              <a:off x="7244060" y="1626192"/>
              <a:ext cx="1440000" cy="2530788"/>
            </a:xfrm>
            <a:prstGeom prst="rect">
              <a:avLst/>
            </a:prstGeom>
            <a:ln>
              <a:solidFill>
                <a:schemeClr val="bg2"/>
              </a:solidFill>
            </a:ln>
          </p:spPr>
        </p:pic>
        <p:pic>
          <p:nvPicPr>
            <p:cNvPr id="54" name="Picture 53" descr="Logo, company name&#10;&#10;Description automatically generated">
              <a:extLst>
                <a:ext uri="{FF2B5EF4-FFF2-40B4-BE49-F238E27FC236}">
                  <a16:creationId xmlns:a16="http://schemas.microsoft.com/office/drawing/2014/main" id="{92CA162F-D80E-4FC4-B212-F17B64CBFD1A}"/>
                </a:ext>
              </a:extLst>
            </p:cNvPr>
            <p:cNvPicPr>
              <a:picLocks noChangeAspect="1"/>
            </p:cNvPicPr>
            <p:nvPr/>
          </p:nvPicPr>
          <p:blipFill>
            <a:blip r:embed="rId12"/>
            <a:stretch>
              <a:fillRect/>
            </a:stretch>
          </p:blipFill>
          <p:spPr>
            <a:xfrm>
              <a:off x="7210079" y="4159234"/>
              <a:ext cx="1303585" cy="472548"/>
            </a:xfrm>
            <a:prstGeom prst="rect">
              <a:avLst/>
            </a:prstGeom>
          </p:spPr>
        </p:pic>
      </p:grpSp>
      <p:grpSp>
        <p:nvGrpSpPr>
          <p:cNvPr id="3" name="Group 2">
            <a:extLst>
              <a:ext uri="{FF2B5EF4-FFF2-40B4-BE49-F238E27FC236}">
                <a16:creationId xmlns:a16="http://schemas.microsoft.com/office/drawing/2014/main" id="{50629D13-F737-49DC-8328-703D66CB4AA5}"/>
              </a:ext>
            </a:extLst>
          </p:cNvPr>
          <p:cNvGrpSpPr/>
          <p:nvPr>
            <p:custDataLst>
              <p:tags r:id="rId5"/>
            </p:custDataLst>
          </p:nvPr>
        </p:nvGrpSpPr>
        <p:grpSpPr>
          <a:xfrm>
            <a:off x="3515212" y="1624889"/>
            <a:ext cx="2047211" cy="2904626"/>
            <a:chOff x="3672148" y="1540796"/>
            <a:chExt cx="2223802" cy="3155180"/>
          </a:xfrm>
        </p:grpSpPr>
        <p:pic>
          <p:nvPicPr>
            <p:cNvPr id="52" name="Picture 51" descr="Graphical user interface, application, Teams&#10;&#10;Description automatically generated">
              <a:extLst>
                <a:ext uri="{FF2B5EF4-FFF2-40B4-BE49-F238E27FC236}">
                  <a16:creationId xmlns:a16="http://schemas.microsoft.com/office/drawing/2014/main" id="{BB78B82E-DC91-4AD5-949E-F15836E66C92}"/>
                </a:ext>
              </a:extLst>
            </p:cNvPr>
            <p:cNvPicPr>
              <a:picLocks noChangeAspect="1"/>
            </p:cNvPicPr>
            <p:nvPr/>
          </p:nvPicPr>
          <p:blipFill rotWithShape="1">
            <a:blip r:embed="rId13"/>
            <a:srcRect b="7003"/>
            <a:stretch/>
          </p:blipFill>
          <p:spPr>
            <a:xfrm>
              <a:off x="3672148" y="1540796"/>
              <a:ext cx="1284715" cy="2377679"/>
            </a:xfrm>
            <a:prstGeom prst="rect">
              <a:avLst/>
            </a:prstGeom>
            <a:ln>
              <a:solidFill>
                <a:schemeClr val="bg2"/>
              </a:solidFill>
            </a:ln>
          </p:spPr>
        </p:pic>
        <p:pic>
          <p:nvPicPr>
            <p:cNvPr id="50" name="Picture 49" descr="Graphical user interface, text, application, chat or text message&#10;&#10;Description automatically generated">
              <a:extLst>
                <a:ext uri="{FF2B5EF4-FFF2-40B4-BE49-F238E27FC236}">
                  <a16:creationId xmlns:a16="http://schemas.microsoft.com/office/drawing/2014/main" id="{34516948-1CF7-44D8-9E7B-B0FD6FB54645}"/>
                </a:ext>
              </a:extLst>
            </p:cNvPr>
            <p:cNvPicPr>
              <a:picLocks noChangeAspect="1"/>
            </p:cNvPicPr>
            <p:nvPr/>
          </p:nvPicPr>
          <p:blipFill rotWithShape="1">
            <a:blip r:embed="rId14"/>
            <a:srcRect b="7646"/>
            <a:stretch/>
          </p:blipFill>
          <p:spPr>
            <a:xfrm>
              <a:off x="4611236" y="1733790"/>
              <a:ext cx="1284714" cy="2377678"/>
            </a:xfrm>
            <a:prstGeom prst="rect">
              <a:avLst/>
            </a:prstGeom>
            <a:ln>
              <a:solidFill>
                <a:schemeClr val="bg2"/>
              </a:solidFill>
            </a:ln>
          </p:spPr>
        </p:pic>
        <p:grpSp>
          <p:nvGrpSpPr>
            <p:cNvPr id="61" name="Group 60">
              <a:extLst>
                <a:ext uri="{FF2B5EF4-FFF2-40B4-BE49-F238E27FC236}">
                  <a16:creationId xmlns:a16="http://schemas.microsoft.com/office/drawing/2014/main" id="{CE868735-9376-4DB7-81FB-DE317191A48D}"/>
                </a:ext>
              </a:extLst>
            </p:cNvPr>
            <p:cNvGrpSpPr/>
            <p:nvPr/>
          </p:nvGrpSpPr>
          <p:grpSpPr>
            <a:xfrm>
              <a:off x="3697336" y="4169946"/>
              <a:ext cx="2198613" cy="526030"/>
              <a:chOff x="4145359" y="1614201"/>
              <a:chExt cx="2198613" cy="526030"/>
            </a:xfrm>
          </p:grpSpPr>
          <p:pic>
            <p:nvPicPr>
              <p:cNvPr id="59" name="Picture 58" descr="Icon&#10;&#10;Description automatically generated">
                <a:extLst>
                  <a:ext uri="{FF2B5EF4-FFF2-40B4-BE49-F238E27FC236}">
                    <a16:creationId xmlns:a16="http://schemas.microsoft.com/office/drawing/2014/main" id="{C528F540-DA9A-413D-B204-EF9113606A35}"/>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foregroundMark x1="50167" y1="49048" x2="54250" y2="54603"/>
                            <a14:foregroundMark x1="49417" y1="46825" x2="50417" y2="47460"/>
                            <a14:foregroundMark x1="60083" y1="62540" x2="60833" y2="72698"/>
                          </a14:backgroundRemoval>
                        </a14:imgEffect>
                      </a14:imgLayer>
                    </a14:imgProps>
                  </a:ext>
                </a:extLst>
              </a:blip>
              <a:stretch>
                <a:fillRect/>
              </a:stretch>
            </p:blipFill>
            <p:spPr>
              <a:xfrm>
                <a:off x="4145359" y="1614201"/>
                <a:ext cx="1001961" cy="526030"/>
              </a:xfrm>
              <a:prstGeom prst="rect">
                <a:avLst/>
              </a:prstGeom>
            </p:spPr>
          </p:pic>
          <p:sp>
            <p:nvSpPr>
              <p:cNvPr id="60" name="TextBox 59">
                <a:extLst>
                  <a:ext uri="{FF2B5EF4-FFF2-40B4-BE49-F238E27FC236}">
                    <a16:creationId xmlns:a16="http://schemas.microsoft.com/office/drawing/2014/main" id="{FED8F934-8A77-4764-B817-CE00A9B69D18}"/>
                  </a:ext>
                </a:extLst>
              </p:cNvPr>
              <p:cNvSpPr txBox="1"/>
              <p:nvPr/>
            </p:nvSpPr>
            <p:spPr>
              <a:xfrm>
                <a:off x="4867017" y="1713593"/>
                <a:ext cx="1476955" cy="426638"/>
              </a:xfrm>
              <a:prstGeom prst="rect">
                <a:avLst/>
              </a:prstGeom>
              <a:noFill/>
            </p:spPr>
            <p:txBody>
              <a:bodyPr wrap="square" rtlCol="0">
                <a:spAutoFit/>
              </a:bodyPr>
              <a:lstStyle/>
              <a:p>
                <a:r>
                  <a:rPr lang="en-US" err="1"/>
                  <a:t>Covid</a:t>
                </a:r>
                <a:r>
                  <a:rPr lang="en-US" b="1" err="1"/>
                  <a:t>Scan</a:t>
                </a:r>
                <a:endParaRPr lang="en-BE" b="1"/>
              </a:p>
            </p:txBody>
          </p:sp>
        </p:grpSp>
      </p:grpSp>
    </p:spTree>
    <p:extLst>
      <p:ext uri="{BB962C8B-B14F-4D97-AF65-F5344CB8AC3E}">
        <p14:creationId xmlns:p14="http://schemas.microsoft.com/office/powerpoint/2010/main" val="1585668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2">
            <a:extLst>
              <a:ext uri="{FF2B5EF4-FFF2-40B4-BE49-F238E27FC236}">
                <a16:creationId xmlns:a16="http://schemas.microsoft.com/office/drawing/2014/main" id="{05D1B5EE-240F-814A-AF5F-859388321503}"/>
              </a:ext>
            </a:extLst>
          </p:cNvPr>
          <p:cNvSpPr txBox="1">
            <a:spLocks/>
          </p:cNvSpPr>
          <p:nvPr>
            <p:custDataLst>
              <p:tags r:id="rId1"/>
            </p:custDataLst>
          </p:nvPr>
        </p:nvSpPr>
        <p:spPr bwMode="auto">
          <a:xfrm>
            <a:off x="3230067" y="2525343"/>
            <a:ext cx="3787357" cy="883331"/>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endParaRPr lang="en-US">
              <a:solidFill>
                <a:srgbClr val="313131"/>
              </a:solidFill>
              <a:latin typeface="Helvetica" pitchFamily="2" charset="0"/>
            </a:endParaRPr>
          </a:p>
        </p:txBody>
      </p:sp>
      <p:sp>
        <p:nvSpPr>
          <p:cNvPr id="14" name="TextBox 5">
            <a:extLst>
              <a:ext uri="{FF2B5EF4-FFF2-40B4-BE49-F238E27FC236}">
                <a16:creationId xmlns:a16="http://schemas.microsoft.com/office/drawing/2014/main" id="{ADE24960-3DC1-4F40-8705-D09E167A0C53}"/>
              </a:ext>
            </a:extLst>
          </p:cNvPr>
          <p:cNvSpPr txBox="1"/>
          <p:nvPr>
            <p:custDataLst>
              <p:tags r:id="rId2"/>
            </p:custDataLst>
          </p:nvPr>
        </p:nvSpPr>
        <p:spPr>
          <a:xfrm>
            <a:off x="341432" y="294427"/>
            <a:ext cx="3453328" cy="646331"/>
          </a:xfrm>
          <a:prstGeom prst="rect">
            <a:avLst/>
          </a:prstGeom>
          <a:noFill/>
        </p:spPr>
        <p:txBody>
          <a:bodyPr wrap="square" rtlCol="0">
            <a:spAutoFit/>
          </a:bodyPr>
          <a:lstStyle/>
          <a:p>
            <a:r>
              <a:rPr lang="en-US" sz="3600">
                <a:solidFill>
                  <a:srgbClr val="7030A0"/>
                </a:solidFill>
                <a:latin typeface="Helvetica" pitchFamily="2" charset="0"/>
                <a:cs typeface="Arial"/>
                <a:sym typeface="Arial"/>
              </a:rPr>
              <a:t>Coronalert</a:t>
            </a:r>
          </a:p>
        </p:txBody>
      </p:sp>
      <p:sp>
        <p:nvSpPr>
          <p:cNvPr id="15" name="TextBox 23">
            <a:extLst>
              <a:ext uri="{FF2B5EF4-FFF2-40B4-BE49-F238E27FC236}">
                <a16:creationId xmlns:a16="http://schemas.microsoft.com/office/drawing/2014/main" id="{876AB4B5-129A-7F43-9340-1BAF49B9B459}"/>
              </a:ext>
            </a:extLst>
          </p:cNvPr>
          <p:cNvSpPr txBox="1"/>
          <p:nvPr>
            <p:custDataLst>
              <p:tags r:id="rId3"/>
            </p:custDataLst>
          </p:nvPr>
        </p:nvSpPr>
        <p:spPr>
          <a:xfrm>
            <a:off x="654225" y="878832"/>
            <a:ext cx="2457781" cy="400110"/>
          </a:xfrm>
          <a:prstGeom prst="rect">
            <a:avLst/>
          </a:prstGeom>
          <a:noFill/>
        </p:spPr>
        <p:txBody>
          <a:bodyPr wrap="square" rtlCol="0">
            <a:spAutoFit/>
          </a:bodyPr>
          <a:lstStyle/>
          <a:p>
            <a:r>
              <a:rPr lang="en-US" sz="2000">
                <a:solidFill>
                  <a:srgbClr val="B5B1D9"/>
                </a:solidFill>
                <a:latin typeface="Helvetica" pitchFamily="2" charset="0"/>
                <a:cs typeface="Arial"/>
                <a:sym typeface="Arial"/>
              </a:rPr>
              <a:t>Contact tracing app</a:t>
            </a:r>
          </a:p>
        </p:txBody>
      </p:sp>
      <p:grpSp>
        <p:nvGrpSpPr>
          <p:cNvPr id="17" name="Group 16">
            <a:extLst>
              <a:ext uri="{FF2B5EF4-FFF2-40B4-BE49-F238E27FC236}">
                <a16:creationId xmlns:a16="http://schemas.microsoft.com/office/drawing/2014/main" id="{963E893A-AEA7-46A0-83FA-1BEA3EFF4403}"/>
              </a:ext>
            </a:extLst>
          </p:cNvPr>
          <p:cNvGrpSpPr/>
          <p:nvPr>
            <p:custDataLst>
              <p:tags r:id="rId4"/>
            </p:custDataLst>
          </p:nvPr>
        </p:nvGrpSpPr>
        <p:grpSpPr>
          <a:xfrm>
            <a:off x="1537171" y="1438101"/>
            <a:ext cx="7189136" cy="1507679"/>
            <a:chOff x="1488785" y="1420028"/>
            <a:chExt cx="5116960" cy="1073110"/>
          </a:xfrm>
        </p:grpSpPr>
        <p:pic>
          <p:nvPicPr>
            <p:cNvPr id="18" name="Picture 17" descr="Icon&#10;&#10;Description automatically generated">
              <a:extLst>
                <a:ext uri="{FF2B5EF4-FFF2-40B4-BE49-F238E27FC236}">
                  <a16:creationId xmlns:a16="http://schemas.microsoft.com/office/drawing/2014/main" id="{17FAD543-C30E-4E3D-8CCA-C0831132F9D6}"/>
                </a:ext>
              </a:extLst>
            </p:cNvPr>
            <p:cNvPicPr>
              <a:picLocks noChangeAspect="1"/>
            </p:cNvPicPr>
            <p:nvPr/>
          </p:nvPicPr>
          <p:blipFill>
            <a:blip r:embed="rId9"/>
            <a:stretch>
              <a:fillRect/>
            </a:stretch>
          </p:blipFill>
          <p:spPr>
            <a:xfrm>
              <a:off x="1520247" y="1420028"/>
              <a:ext cx="929099" cy="1073110"/>
            </a:xfrm>
            <a:prstGeom prst="rect">
              <a:avLst/>
            </a:prstGeom>
          </p:spPr>
        </p:pic>
        <p:pic>
          <p:nvPicPr>
            <p:cNvPr id="19" name="Picture 18" descr="Logo, company name&#10;&#10;Description automatically generated">
              <a:extLst>
                <a:ext uri="{FF2B5EF4-FFF2-40B4-BE49-F238E27FC236}">
                  <a16:creationId xmlns:a16="http://schemas.microsoft.com/office/drawing/2014/main" id="{2156C873-AC43-4DCE-9659-A6EAB8D98A70}"/>
                </a:ext>
              </a:extLst>
            </p:cNvPr>
            <p:cNvPicPr>
              <a:picLocks noChangeAspect="1"/>
            </p:cNvPicPr>
            <p:nvPr/>
          </p:nvPicPr>
          <p:blipFill>
            <a:blip r:embed="rId10"/>
            <a:stretch>
              <a:fillRect/>
            </a:stretch>
          </p:blipFill>
          <p:spPr>
            <a:xfrm>
              <a:off x="4941006" y="1649557"/>
              <a:ext cx="1664739" cy="603468"/>
            </a:xfrm>
            <a:prstGeom prst="rect">
              <a:avLst/>
            </a:prstGeom>
          </p:spPr>
        </p:pic>
        <p:sp>
          <p:nvSpPr>
            <p:cNvPr id="22" name="Arrow: Right 21">
              <a:extLst>
                <a:ext uri="{FF2B5EF4-FFF2-40B4-BE49-F238E27FC236}">
                  <a16:creationId xmlns:a16="http://schemas.microsoft.com/office/drawing/2014/main" id="{D3B13E99-B0EA-4685-8E83-D034CCB992DF}"/>
                </a:ext>
              </a:extLst>
            </p:cNvPr>
            <p:cNvSpPr/>
            <p:nvPr/>
          </p:nvSpPr>
          <p:spPr>
            <a:xfrm>
              <a:off x="2866455" y="1654300"/>
              <a:ext cx="1576208" cy="4432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6" name="Picture 25">
              <a:extLst>
                <a:ext uri="{FF2B5EF4-FFF2-40B4-BE49-F238E27FC236}">
                  <a16:creationId xmlns:a16="http://schemas.microsoft.com/office/drawing/2014/main" id="{6E504760-A84D-4563-A618-62CCABD20C53}"/>
                </a:ext>
              </a:extLst>
            </p:cNvPr>
            <p:cNvPicPr>
              <a:picLocks noChangeAspect="1"/>
            </p:cNvPicPr>
            <p:nvPr/>
          </p:nvPicPr>
          <p:blipFill>
            <a:blip r:embed="rId11"/>
            <a:stretch>
              <a:fillRect/>
            </a:stretch>
          </p:blipFill>
          <p:spPr>
            <a:xfrm flipH="1">
              <a:off x="1488785" y="1525163"/>
              <a:ext cx="198737" cy="198737"/>
            </a:xfrm>
            <a:prstGeom prst="rect">
              <a:avLst/>
            </a:prstGeom>
          </p:spPr>
        </p:pic>
        <p:pic>
          <p:nvPicPr>
            <p:cNvPr id="28" name="Picture 27">
              <a:extLst>
                <a:ext uri="{FF2B5EF4-FFF2-40B4-BE49-F238E27FC236}">
                  <a16:creationId xmlns:a16="http://schemas.microsoft.com/office/drawing/2014/main" id="{59F7A475-C574-4297-94A7-6210A39E79E0}"/>
                </a:ext>
              </a:extLst>
            </p:cNvPr>
            <p:cNvPicPr>
              <a:picLocks noChangeAspect="1"/>
            </p:cNvPicPr>
            <p:nvPr/>
          </p:nvPicPr>
          <p:blipFill>
            <a:blip r:embed="rId12"/>
            <a:stretch>
              <a:fillRect/>
            </a:stretch>
          </p:blipFill>
          <p:spPr>
            <a:xfrm>
              <a:off x="4846422" y="1546875"/>
              <a:ext cx="189168" cy="189168"/>
            </a:xfrm>
            <a:prstGeom prst="rect">
              <a:avLst/>
            </a:prstGeom>
          </p:spPr>
        </p:pic>
        <p:pic>
          <p:nvPicPr>
            <p:cNvPr id="36" name="Picture 35">
              <a:extLst>
                <a:ext uri="{FF2B5EF4-FFF2-40B4-BE49-F238E27FC236}">
                  <a16:creationId xmlns:a16="http://schemas.microsoft.com/office/drawing/2014/main" id="{E316D56A-B109-460F-A813-FC6332F48F26}"/>
                </a:ext>
              </a:extLst>
            </p:cNvPr>
            <p:cNvPicPr>
              <a:picLocks noChangeAspect="1"/>
            </p:cNvPicPr>
            <p:nvPr/>
          </p:nvPicPr>
          <p:blipFill>
            <a:blip r:embed="rId13"/>
            <a:stretch>
              <a:fillRect/>
            </a:stretch>
          </p:blipFill>
          <p:spPr>
            <a:xfrm>
              <a:off x="2379251" y="2031717"/>
              <a:ext cx="999315" cy="324338"/>
            </a:xfrm>
            <a:prstGeom prst="rect">
              <a:avLst/>
            </a:prstGeom>
          </p:spPr>
        </p:pic>
        <p:pic>
          <p:nvPicPr>
            <p:cNvPr id="38" name="Picture 37">
              <a:extLst>
                <a:ext uri="{FF2B5EF4-FFF2-40B4-BE49-F238E27FC236}">
                  <a16:creationId xmlns:a16="http://schemas.microsoft.com/office/drawing/2014/main" id="{8405957B-ABED-4562-8A3B-00F2ADC81FCE}"/>
                </a:ext>
              </a:extLst>
            </p:cNvPr>
            <p:cNvPicPr>
              <a:picLocks noChangeAspect="1"/>
            </p:cNvPicPr>
            <p:nvPr/>
          </p:nvPicPr>
          <p:blipFill>
            <a:blip r:embed="rId14"/>
            <a:stretch>
              <a:fillRect/>
            </a:stretch>
          </p:blipFill>
          <p:spPr>
            <a:xfrm>
              <a:off x="3814395" y="2089492"/>
              <a:ext cx="948068" cy="255865"/>
            </a:xfrm>
            <a:prstGeom prst="rect">
              <a:avLst/>
            </a:prstGeom>
          </p:spPr>
        </p:pic>
      </p:grpSp>
      <p:sp>
        <p:nvSpPr>
          <p:cNvPr id="6" name="TextBox 5">
            <a:extLst>
              <a:ext uri="{FF2B5EF4-FFF2-40B4-BE49-F238E27FC236}">
                <a16:creationId xmlns:a16="http://schemas.microsoft.com/office/drawing/2014/main" id="{4063E0E6-B684-451F-9A13-AEB37A3B099D}"/>
              </a:ext>
            </a:extLst>
          </p:cNvPr>
          <p:cNvSpPr txBox="1"/>
          <p:nvPr>
            <p:custDataLst>
              <p:tags r:id="rId5"/>
            </p:custDataLst>
          </p:nvPr>
        </p:nvSpPr>
        <p:spPr>
          <a:xfrm>
            <a:off x="290445" y="2897226"/>
            <a:ext cx="3887206" cy="2031325"/>
          </a:xfrm>
          <a:prstGeom prst="rect">
            <a:avLst/>
          </a:prstGeom>
          <a:noFill/>
        </p:spPr>
        <p:txBody>
          <a:bodyPr wrap="square" rtlCol="0">
            <a:spAutoFit/>
          </a:bodyPr>
          <a:lstStyle/>
          <a:p>
            <a:pPr marL="285750" indent="-285750">
              <a:buFont typeface="Arial" panose="020B0604020202020204" pitchFamily="34" charset="0"/>
              <a:buChar char="•"/>
            </a:pPr>
            <a:r>
              <a:rPr lang="en-US">
                <a:solidFill>
                  <a:srgbClr val="313131"/>
                </a:solidFill>
                <a:latin typeface="Arial" panose="020B0604020202020204" pitchFamily="34" charset="0"/>
                <a:cs typeface="Arial" panose="020B0604020202020204" pitchFamily="34" charset="0"/>
              </a:rPr>
              <a:t>Developed originally by SAP (DE)</a:t>
            </a:r>
          </a:p>
          <a:p>
            <a:endParaRPr lang="en-US">
              <a:solidFill>
                <a:srgbClr val="31313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rgbClr val="313131"/>
                </a:solidFill>
                <a:latin typeface="Arial" panose="020B0604020202020204" pitchFamily="34" charset="0"/>
                <a:cs typeface="Arial" panose="020B0604020202020204" pitchFamily="34" charset="0"/>
              </a:rPr>
              <a:t>Overseen by cyber security experts from German research institutes. </a:t>
            </a:r>
          </a:p>
          <a:p>
            <a:pPr marL="285750" indent="-285750">
              <a:buFont typeface="Arial" panose="020B0604020202020204" pitchFamily="34" charset="0"/>
              <a:buChar char="•"/>
            </a:pPr>
            <a:endParaRPr lang="en-US">
              <a:solidFill>
                <a:srgbClr val="31313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rgbClr val="313131"/>
                </a:solidFill>
                <a:latin typeface="Arial" panose="020B0604020202020204" pitchFamily="34" charset="0"/>
                <a:cs typeface="Arial" panose="020B0604020202020204" pitchFamily="34" charset="0"/>
              </a:rPr>
              <a:t>Made open source</a:t>
            </a:r>
          </a:p>
          <a:p>
            <a:endParaRPr lang="en-US"/>
          </a:p>
          <a:p>
            <a:endParaRPr lang="en-BE"/>
          </a:p>
        </p:txBody>
      </p:sp>
      <p:sp>
        <p:nvSpPr>
          <p:cNvPr id="20" name="TextBox 19">
            <a:extLst>
              <a:ext uri="{FF2B5EF4-FFF2-40B4-BE49-F238E27FC236}">
                <a16:creationId xmlns:a16="http://schemas.microsoft.com/office/drawing/2014/main" id="{2B8CC9A3-E53A-48FC-A1DE-A5BBF8D87DCA}"/>
              </a:ext>
            </a:extLst>
          </p:cNvPr>
          <p:cNvSpPr txBox="1"/>
          <p:nvPr>
            <p:custDataLst>
              <p:tags r:id="rId6"/>
            </p:custDataLst>
          </p:nvPr>
        </p:nvSpPr>
        <p:spPr>
          <a:xfrm>
            <a:off x="5736811" y="3112669"/>
            <a:ext cx="3407189" cy="1600438"/>
          </a:xfrm>
          <a:prstGeom prst="rect">
            <a:avLst/>
          </a:prstGeom>
          <a:noFill/>
        </p:spPr>
        <p:txBody>
          <a:bodyPr wrap="square" rtlCol="0">
            <a:spAutoFit/>
          </a:bodyPr>
          <a:lstStyle/>
          <a:p>
            <a:pPr marL="285750" indent="-285750">
              <a:buFont typeface="Arial" panose="020B0604020202020204" pitchFamily="34" charset="0"/>
              <a:buChar char="•"/>
            </a:pPr>
            <a:r>
              <a:rPr lang="en-US">
                <a:solidFill>
                  <a:srgbClr val="313131"/>
                </a:solidFill>
                <a:latin typeface="Arial" panose="020B0604020202020204" pitchFamily="34" charset="0"/>
                <a:cs typeface="Arial" panose="020B0604020202020204" pitchFamily="34" charset="0"/>
              </a:rPr>
              <a:t>Fork (copy) of the German app</a:t>
            </a:r>
          </a:p>
          <a:p>
            <a:pPr marL="285750" indent="-285750">
              <a:buFont typeface="Arial" panose="020B0604020202020204" pitchFamily="34" charset="0"/>
              <a:buChar char="•"/>
            </a:pPr>
            <a:endParaRPr lang="en-US">
              <a:solidFill>
                <a:srgbClr val="31313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rgbClr val="313131"/>
                </a:solidFill>
                <a:latin typeface="Arial" panose="020B0604020202020204" pitchFamily="34" charset="0"/>
                <a:cs typeface="Arial" panose="020B0604020202020204" pitchFamily="34" charset="0"/>
              </a:rPr>
              <a:t>Without the covid certificate feature </a:t>
            </a:r>
          </a:p>
          <a:p>
            <a:r>
              <a:rPr lang="en-US">
                <a:solidFill>
                  <a:srgbClr val="313131"/>
                </a:solidFill>
                <a:latin typeface="Arial" panose="020B0604020202020204" pitchFamily="34" charset="0"/>
                <a:cs typeface="Arial" panose="020B0604020202020204" pitchFamily="34" charset="0"/>
              </a:rPr>
              <a:t>(included in separate app for Belgium)</a:t>
            </a:r>
          </a:p>
          <a:p>
            <a:endParaRPr lang="en-US">
              <a:solidFill>
                <a:srgbClr val="313131"/>
              </a:solidFill>
              <a:latin typeface="Arial" panose="020B0604020202020204" pitchFamily="34" charset="0"/>
              <a:cs typeface="Arial" panose="020B0604020202020204" pitchFamily="34" charset="0"/>
            </a:endParaRPr>
          </a:p>
          <a:p>
            <a:endParaRPr lang="en-US"/>
          </a:p>
          <a:p>
            <a:r>
              <a:rPr lang="en-US"/>
              <a:t> </a:t>
            </a:r>
            <a:endParaRPr lang="en-BE"/>
          </a:p>
        </p:txBody>
      </p:sp>
    </p:spTree>
    <p:extLst>
      <p:ext uri="{BB962C8B-B14F-4D97-AF65-F5344CB8AC3E}">
        <p14:creationId xmlns:p14="http://schemas.microsoft.com/office/powerpoint/2010/main" val="344247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5">
            <a:extLst>
              <a:ext uri="{FF2B5EF4-FFF2-40B4-BE49-F238E27FC236}">
                <a16:creationId xmlns:a16="http://schemas.microsoft.com/office/drawing/2014/main" id="{ADE24960-3DC1-4F40-8705-D09E167A0C53}"/>
              </a:ext>
            </a:extLst>
          </p:cNvPr>
          <p:cNvSpPr txBox="1"/>
          <p:nvPr>
            <p:custDataLst>
              <p:tags r:id="rId1"/>
            </p:custDataLst>
          </p:nvPr>
        </p:nvSpPr>
        <p:spPr>
          <a:xfrm>
            <a:off x="341432" y="294427"/>
            <a:ext cx="6478112" cy="646331"/>
          </a:xfrm>
          <a:prstGeom prst="rect">
            <a:avLst/>
          </a:prstGeom>
          <a:noFill/>
        </p:spPr>
        <p:txBody>
          <a:bodyPr wrap="square" rtlCol="0">
            <a:spAutoFit/>
          </a:bodyPr>
          <a:lstStyle/>
          <a:p>
            <a:r>
              <a:rPr lang="en-US" sz="3600" err="1">
                <a:solidFill>
                  <a:srgbClr val="7030A0"/>
                </a:solidFill>
                <a:latin typeface="Helvetica" pitchFamily="2" charset="0"/>
                <a:cs typeface="Arial"/>
                <a:sym typeface="Arial"/>
              </a:rPr>
              <a:t>CovidSafeBE</a:t>
            </a:r>
            <a:endParaRPr lang="en-US" sz="3600">
              <a:solidFill>
                <a:srgbClr val="7030A0"/>
              </a:solidFill>
              <a:latin typeface="Helvetica" pitchFamily="2" charset="0"/>
              <a:cs typeface="Arial"/>
              <a:sym typeface="Arial"/>
            </a:endParaRPr>
          </a:p>
        </p:txBody>
      </p:sp>
      <p:sp>
        <p:nvSpPr>
          <p:cNvPr id="15" name="TextBox 23">
            <a:extLst>
              <a:ext uri="{FF2B5EF4-FFF2-40B4-BE49-F238E27FC236}">
                <a16:creationId xmlns:a16="http://schemas.microsoft.com/office/drawing/2014/main" id="{876AB4B5-129A-7F43-9340-1BAF49B9B459}"/>
              </a:ext>
            </a:extLst>
          </p:cNvPr>
          <p:cNvSpPr txBox="1"/>
          <p:nvPr>
            <p:custDataLst>
              <p:tags r:id="rId2"/>
            </p:custDataLst>
          </p:nvPr>
        </p:nvSpPr>
        <p:spPr>
          <a:xfrm>
            <a:off x="654225" y="878832"/>
            <a:ext cx="4148511" cy="400110"/>
          </a:xfrm>
          <a:prstGeom prst="rect">
            <a:avLst/>
          </a:prstGeom>
          <a:noFill/>
        </p:spPr>
        <p:txBody>
          <a:bodyPr wrap="square" rtlCol="0">
            <a:spAutoFit/>
          </a:bodyPr>
          <a:lstStyle/>
          <a:p>
            <a:r>
              <a:rPr lang="en-US" sz="2000">
                <a:solidFill>
                  <a:srgbClr val="B5B1D9"/>
                </a:solidFill>
                <a:latin typeface="Helvetica" pitchFamily="2" charset="0"/>
                <a:cs typeface="Arial"/>
                <a:sym typeface="Arial"/>
              </a:rPr>
              <a:t>Covid Certificate app</a:t>
            </a:r>
          </a:p>
        </p:txBody>
      </p:sp>
      <p:sp>
        <p:nvSpPr>
          <p:cNvPr id="2" name="TextBox 1">
            <a:extLst>
              <a:ext uri="{FF2B5EF4-FFF2-40B4-BE49-F238E27FC236}">
                <a16:creationId xmlns:a16="http://schemas.microsoft.com/office/drawing/2014/main" id="{2CEF1B7E-C78A-4E45-AF68-C88303977A3F}"/>
              </a:ext>
            </a:extLst>
          </p:cNvPr>
          <p:cNvSpPr txBox="1"/>
          <p:nvPr>
            <p:custDataLst>
              <p:tags r:id="rId3"/>
            </p:custDataLst>
          </p:nvPr>
        </p:nvSpPr>
        <p:spPr>
          <a:xfrm>
            <a:off x="466344" y="1682496"/>
            <a:ext cx="4636008" cy="2462213"/>
          </a:xfrm>
          <a:prstGeom prst="rect">
            <a:avLst/>
          </a:prstGeom>
          <a:noFill/>
        </p:spPr>
        <p:txBody>
          <a:bodyPr wrap="square" rtlCol="0">
            <a:spAutoFit/>
          </a:bodyPr>
          <a:lstStyle/>
          <a:p>
            <a:pPr marL="285750" indent="-285750">
              <a:buFont typeface="Arial" panose="020B0604020202020204" pitchFamily="34" charset="0"/>
              <a:buChar char="•"/>
            </a:pPr>
            <a:r>
              <a:rPr lang="en-US"/>
              <a:t>Founded by the Belgian government</a:t>
            </a:r>
          </a:p>
          <a:p>
            <a:endParaRPr lang="en-US"/>
          </a:p>
          <a:p>
            <a:pPr marL="285750" indent="-285750">
              <a:buFont typeface="Arial" panose="020B0604020202020204" pitchFamily="34" charset="0"/>
              <a:buChar char="•"/>
            </a:pPr>
            <a:r>
              <a:rPr lang="en-US"/>
              <a:t>Login via </a:t>
            </a:r>
            <a:r>
              <a:rPr lang="en-US" b="1" err="1"/>
              <a:t>itsme</a:t>
            </a:r>
            <a:r>
              <a:rPr lang="en-US"/>
              <a:t> or </a:t>
            </a:r>
            <a:r>
              <a:rPr lang="en-US" b="1"/>
              <a:t>eHealth</a:t>
            </a:r>
            <a:r>
              <a:rPr lang="en-US"/>
              <a:t> platform</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Use EU digital certificates (DCC)</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ransfer analytics data to Firebase (Google)</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Anti fake / forgeries with “moving frame”. </a:t>
            </a:r>
          </a:p>
          <a:p>
            <a:r>
              <a:rPr lang="en-US"/>
              <a:t>The goal is to prevent screenshot and QR code sharing</a:t>
            </a:r>
          </a:p>
          <a:p>
            <a:endParaRPr lang="en-US"/>
          </a:p>
        </p:txBody>
      </p:sp>
      <p:pic>
        <p:nvPicPr>
          <p:cNvPr id="28" name="Picture 27" descr="Text&#10;&#10;Description automatically generated">
            <a:extLst>
              <a:ext uri="{FF2B5EF4-FFF2-40B4-BE49-F238E27FC236}">
                <a16:creationId xmlns:a16="http://schemas.microsoft.com/office/drawing/2014/main" id="{B1F62134-82CF-469E-873E-92E881925F7F}"/>
              </a:ext>
            </a:extLst>
          </p:cNvPr>
          <p:cNvPicPr>
            <a:picLocks noChangeAspect="1"/>
          </p:cNvPicPr>
          <p:nvPr>
            <p:custDataLst>
              <p:tags r:id="rId4"/>
            </p:custDataLst>
          </p:nvPr>
        </p:nvPicPr>
        <p:blipFill rotWithShape="1">
          <a:blip r:embed="rId7"/>
          <a:srcRect t="27022" b="25334"/>
          <a:stretch/>
        </p:blipFill>
        <p:spPr>
          <a:xfrm>
            <a:off x="5767872" y="1531621"/>
            <a:ext cx="2818249" cy="2903220"/>
          </a:xfrm>
          <a:prstGeom prst="rect">
            <a:avLst/>
          </a:prstGeom>
        </p:spPr>
      </p:pic>
    </p:spTree>
    <p:extLst>
      <p:ext uri="{BB962C8B-B14F-4D97-AF65-F5344CB8AC3E}">
        <p14:creationId xmlns:p14="http://schemas.microsoft.com/office/powerpoint/2010/main" val="950167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00.xml><?xml version="1.0" encoding="utf-8"?>
<p:tagLst xmlns:a="http://schemas.openxmlformats.org/drawingml/2006/main" xmlns:r="http://schemas.openxmlformats.org/officeDocument/2006/relationships" xmlns:p="http://schemas.openxmlformats.org/presentationml/2006/main">
  <p:tag name="NUM" val="1"/>
</p:tagLst>
</file>

<file path=ppt/tags/tag101.xml><?xml version="1.0" encoding="utf-8"?>
<p:tagLst xmlns:a="http://schemas.openxmlformats.org/drawingml/2006/main" xmlns:r="http://schemas.openxmlformats.org/officeDocument/2006/relationships" xmlns:p="http://schemas.openxmlformats.org/presentationml/2006/main">
  <p:tag name="NUM" val="2"/>
</p:tagLst>
</file>

<file path=ppt/tags/tag102.xml><?xml version="1.0" encoding="utf-8"?>
<p:tagLst xmlns:a="http://schemas.openxmlformats.org/drawingml/2006/main" xmlns:r="http://schemas.openxmlformats.org/officeDocument/2006/relationships" xmlns:p="http://schemas.openxmlformats.org/presentationml/2006/main">
  <p:tag name="NUM" val="3"/>
</p:tagLst>
</file>

<file path=ppt/tags/tag103.xml><?xml version="1.0" encoding="utf-8"?>
<p:tagLst xmlns:a="http://schemas.openxmlformats.org/drawingml/2006/main" xmlns:r="http://schemas.openxmlformats.org/officeDocument/2006/relationships" xmlns:p="http://schemas.openxmlformats.org/presentationml/2006/main">
  <p:tag name="NUM" val="4"/>
</p:tagLst>
</file>

<file path=ppt/tags/tag104.xml><?xml version="1.0" encoding="utf-8"?>
<p:tagLst xmlns:a="http://schemas.openxmlformats.org/drawingml/2006/main" xmlns:r="http://schemas.openxmlformats.org/officeDocument/2006/relationships" xmlns:p="http://schemas.openxmlformats.org/presentationml/2006/main">
  <p:tag name="NUM" val="5"/>
</p:tagLst>
</file>

<file path=ppt/tags/tag105.xml><?xml version="1.0" encoding="utf-8"?>
<p:tagLst xmlns:a="http://schemas.openxmlformats.org/drawingml/2006/main" xmlns:r="http://schemas.openxmlformats.org/officeDocument/2006/relationships" xmlns:p="http://schemas.openxmlformats.org/presentationml/2006/main">
  <p:tag name="NUM" val="6"/>
</p:tagLst>
</file>

<file path=ppt/tags/tag106.xml><?xml version="1.0" encoding="utf-8"?>
<p:tagLst xmlns:a="http://schemas.openxmlformats.org/drawingml/2006/main" xmlns:r="http://schemas.openxmlformats.org/officeDocument/2006/relationships" xmlns:p="http://schemas.openxmlformats.org/presentationml/2006/main">
  <p:tag name="NUM" val="1"/>
</p:tagLst>
</file>

<file path=ppt/tags/tag107.xml><?xml version="1.0" encoding="utf-8"?>
<p:tagLst xmlns:a="http://schemas.openxmlformats.org/drawingml/2006/main" xmlns:r="http://schemas.openxmlformats.org/officeDocument/2006/relationships" xmlns:p="http://schemas.openxmlformats.org/presentationml/2006/main">
  <p:tag name="NUM" val="2"/>
</p:tagLst>
</file>

<file path=ppt/tags/tag108.xml><?xml version="1.0" encoding="utf-8"?>
<p:tagLst xmlns:a="http://schemas.openxmlformats.org/drawingml/2006/main" xmlns:r="http://schemas.openxmlformats.org/officeDocument/2006/relationships" xmlns:p="http://schemas.openxmlformats.org/presentationml/2006/main">
  <p:tag name="NUM" val="3"/>
</p:tagLst>
</file>

<file path=ppt/tags/tag109.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5"/>
</p:tagLst>
</file>

<file path=ppt/tags/tag111.xml><?xml version="1.0" encoding="utf-8"?>
<p:tagLst xmlns:a="http://schemas.openxmlformats.org/drawingml/2006/main" xmlns:r="http://schemas.openxmlformats.org/officeDocument/2006/relationships" xmlns:p="http://schemas.openxmlformats.org/presentationml/2006/main">
  <p:tag name="NUM" val="1"/>
</p:tagLst>
</file>

<file path=ppt/tags/tag112.xml><?xml version="1.0" encoding="utf-8"?>
<p:tagLst xmlns:a="http://schemas.openxmlformats.org/drawingml/2006/main" xmlns:r="http://schemas.openxmlformats.org/officeDocument/2006/relationships" xmlns:p="http://schemas.openxmlformats.org/presentationml/2006/main">
  <p:tag name="NUM" val="2"/>
</p:tagLst>
</file>

<file path=ppt/tags/tag113.xml><?xml version="1.0" encoding="utf-8"?>
<p:tagLst xmlns:a="http://schemas.openxmlformats.org/drawingml/2006/main" xmlns:r="http://schemas.openxmlformats.org/officeDocument/2006/relationships" xmlns:p="http://schemas.openxmlformats.org/presentationml/2006/main">
  <p:tag name="NUM" val="3"/>
</p:tagLst>
</file>

<file path=ppt/tags/tag114.xml><?xml version="1.0" encoding="utf-8"?>
<p:tagLst xmlns:a="http://schemas.openxmlformats.org/drawingml/2006/main" xmlns:r="http://schemas.openxmlformats.org/officeDocument/2006/relationships" xmlns:p="http://schemas.openxmlformats.org/presentationml/2006/main">
  <p:tag name="NUM" val="4"/>
</p:tagLst>
</file>

<file path=ppt/tags/tag115.xml><?xml version="1.0" encoding="utf-8"?>
<p:tagLst xmlns:a="http://schemas.openxmlformats.org/drawingml/2006/main" xmlns:r="http://schemas.openxmlformats.org/officeDocument/2006/relationships" xmlns:p="http://schemas.openxmlformats.org/presentationml/2006/main">
  <p:tag name="NUM" val="5"/>
</p:tagLst>
</file>

<file path=ppt/tags/tag116.xml><?xml version="1.0" encoding="utf-8"?>
<p:tagLst xmlns:a="http://schemas.openxmlformats.org/drawingml/2006/main" xmlns:r="http://schemas.openxmlformats.org/officeDocument/2006/relationships" xmlns:p="http://schemas.openxmlformats.org/presentationml/2006/main">
  <p:tag name="NUM" val="6"/>
</p:tagLst>
</file>

<file path=ppt/tags/tag117.xml><?xml version="1.0" encoding="utf-8"?>
<p:tagLst xmlns:a="http://schemas.openxmlformats.org/drawingml/2006/main" xmlns:r="http://schemas.openxmlformats.org/officeDocument/2006/relationships" xmlns:p="http://schemas.openxmlformats.org/presentationml/2006/main">
  <p:tag name="NUM" val="1"/>
</p:tagLst>
</file>

<file path=ppt/tags/tag118.xml><?xml version="1.0" encoding="utf-8"?>
<p:tagLst xmlns:a="http://schemas.openxmlformats.org/drawingml/2006/main" xmlns:r="http://schemas.openxmlformats.org/officeDocument/2006/relationships" xmlns:p="http://schemas.openxmlformats.org/presentationml/2006/main">
  <p:tag name="NUM" val="2"/>
</p:tagLst>
</file>

<file path=ppt/tags/tag119.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20.xml><?xml version="1.0" encoding="utf-8"?>
<p:tagLst xmlns:a="http://schemas.openxmlformats.org/drawingml/2006/main" xmlns:r="http://schemas.openxmlformats.org/officeDocument/2006/relationships" xmlns:p="http://schemas.openxmlformats.org/presentationml/2006/main">
  <p:tag name="NUM" val="4"/>
</p:tagLst>
</file>

<file path=ppt/tags/tag121.xml><?xml version="1.0" encoding="utf-8"?>
<p:tagLst xmlns:a="http://schemas.openxmlformats.org/drawingml/2006/main" xmlns:r="http://schemas.openxmlformats.org/officeDocument/2006/relationships" xmlns:p="http://schemas.openxmlformats.org/presentationml/2006/main">
  <p:tag name="NUM" val="5"/>
</p:tagLst>
</file>

<file path=ppt/tags/tag122.xml><?xml version="1.0" encoding="utf-8"?>
<p:tagLst xmlns:a="http://schemas.openxmlformats.org/drawingml/2006/main" xmlns:r="http://schemas.openxmlformats.org/officeDocument/2006/relationships" xmlns:p="http://schemas.openxmlformats.org/presentationml/2006/main">
  <p:tag name="NUM" val="1"/>
</p:tagLst>
</file>

<file path=ppt/tags/tag123.xml><?xml version="1.0" encoding="utf-8"?>
<p:tagLst xmlns:a="http://schemas.openxmlformats.org/drawingml/2006/main" xmlns:r="http://schemas.openxmlformats.org/officeDocument/2006/relationships" xmlns:p="http://schemas.openxmlformats.org/presentationml/2006/main">
  <p:tag name="NUM" val="2"/>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4"/>
</p:tagLst>
</file>

<file path=ppt/tags/tag126.xml><?xml version="1.0" encoding="utf-8"?>
<p:tagLst xmlns:a="http://schemas.openxmlformats.org/drawingml/2006/main" xmlns:r="http://schemas.openxmlformats.org/officeDocument/2006/relationships" xmlns:p="http://schemas.openxmlformats.org/presentationml/2006/main">
  <p:tag name="NUM" val="1"/>
</p:tagLst>
</file>

<file path=ppt/tags/tag127.xml><?xml version="1.0" encoding="utf-8"?>
<p:tagLst xmlns:a="http://schemas.openxmlformats.org/drawingml/2006/main" xmlns:r="http://schemas.openxmlformats.org/officeDocument/2006/relationships" xmlns:p="http://schemas.openxmlformats.org/presentationml/2006/main">
  <p:tag name="NUM" val="2"/>
</p:tagLst>
</file>

<file path=ppt/tags/tag128.xml><?xml version="1.0" encoding="utf-8"?>
<p:tagLst xmlns:a="http://schemas.openxmlformats.org/drawingml/2006/main" xmlns:r="http://schemas.openxmlformats.org/officeDocument/2006/relationships" xmlns:p="http://schemas.openxmlformats.org/presentationml/2006/main">
  <p:tag name="NUM" val="3"/>
</p:tagLst>
</file>

<file path=ppt/tags/tag129.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30.xml><?xml version="1.0" encoding="utf-8"?>
<p:tagLst xmlns:a="http://schemas.openxmlformats.org/drawingml/2006/main" xmlns:r="http://schemas.openxmlformats.org/officeDocument/2006/relationships" xmlns:p="http://schemas.openxmlformats.org/presentationml/2006/main">
  <p:tag name="NUM" val="5"/>
</p:tagLst>
</file>

<file path=ppt/tags/tag131.xml><?xml version="1.0" encoding="utf-8"?>
<p:tagLst xmlns:a="http://schemas.openxmlformats.org/drawingml/2006/main" xmlns:r="http://schemas.openxmlformats.org/officeDocument/2006/relationships" xmlns:p="http://schemas.openxmlformats.org/presentationml/2006/main">
  <p:tag name="NUM" val="6"/>
</p:tagLst>
</file>

<file path=ppt/tags/tag132.xml><?xml version="1.0" encoding="utf-8"?>
<p:tagLst xmlns:a="http://schemas.openxmlformats.org/drawingml/2006/main" xmlns:r="http://schemas.openxmlformats.org/officeDocument/2006/relationships" xmlns:p="http://schemas.openxmlformats.org/presentationml/2006/main">
  <p:tag name="NUM" val="7"/>
</p:tagLst>
</file>

<file path=ppt/tags/tag133.xml><?xml version="1.0" encoding="utf-8"?>
<p:tagLst xmlns:a="http://schemas.openxmlformats.org/drawingml/2006/main" xmlns:r="http://schemas.openxmlformats.org/officeDocument/2006/relationships" xmlns:p="http://schemas.openxmlformats.org/presentationml/2006/main">
  <p:tag name="NUM" val="1"/>
</p:tagLst>
</file>

<file path=ppt/tags/tag134.xml><?xml version="1.0" encoding="utf-8"?>
<p:tagLst xmlns:a="http://schemas.openxmlformats.org/drawingml/2006/main" xmlns:r="http://schemas.openxmlformats.org/officeDocument/2006/relationships" xmlns:p="http://schemas.openxmlformats.org/presentationml/2006/main">
  <p:tag name="NUM" val="2"/>
</p:tagLst>
</file>

<file path=ppt/tags/tag135.xml><?xml version="1.0" encoding="utf-8"?>
<p:tagLst xmlns:a="http://schemas.openxmlformats.org/drawingml/2006/main" xmlns:r="http://schemas.openxmlformats.org/officeDocument/2006/relationships" xmlns:p="http://schemas.openxmlformats.org/presentationml/2006/main">
  <p:tag name="NUM" val="3"/>
</p:tagLst>
</file>

<file path=ppt/tags/tag136.xml><?xml version="1.0" encoding="utf-8"?>
<p:tagLst xmlns:a="http://schemas.openxmlformats.org/drawingml/2006/main" xmlns:r="http://schemas.openxmlformats.org/officeDocument/2006/relationships" xmlns:p="http://schemas.openxmlformats.org/presentationml/2006/main">
  <p:tag name="NUM" val="1"/>
</p:tagLst>
</file>

<file path=ppt/tags/tag137.xml><?xml version="1.0" encoding="utf-8"?>
<p:tagLst xmlns:a="http://schemas.openxmlformats.org/drawingml/2006/main" xmlns:r="http://schemas.openxmlformats.org/officeDocument/2006/relationships" xmlns:p="http://schemas.openxmlformats.org/presentationml/2006/main">
  <p:tag name="NUM" val="2"/>
</p:tagLst>
</file>

<file path=ppt/tags/tag138.xml><?xml version="1.0" encoding="utf-8"?>
<p:tagLst xmlns:a="http://schemas.openxmlformats.org/drawingml/2006/main" xmlns:r="http://schemas.openxmlformats.org/officeDocument/2006/relationships" xmlns:p="http://schemas.openxmlformats.org/presentationml/2006/main">
  <p:tag name="NUM" val="1"/>
</p:tagLst>
</file>

<file path=ppt/tags/tag139.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40.xml><?xml version="1.0" encoding="utf-8"?>
<p:tagLst xmlns:a="http://schemas.openxmlformats.org/drawingml/2006/main" xmlns:r="http://schemas.openxmlformats.org/officeDocument/2006/relationships" xmlns:p="http://schemas.openxmlformats.org/presentationml/2006/main">
  <p:tag name="NUM" val="1"/>
</p:tagLst>
</file>

<file path=ppt/tags/tag141.xml><?xml version="1.0" encoding="utf-8"?>
<p:tagLst xmlns:a="http://schemas.openxmlformats.org/drawingml/2006/main" xmlns:r="http://schemas.openxmlformats.org/officeDocument/2006/relationships" xmlns:p="http://schemas.openxmlformats.org/presentationml/2006/main">
  <p:tag name="NUM" val="2"/>
</p:tagLst>
</file>

<file path=ppt/tags/tag142.xml><?xml version="1.0" encoding="utf-8"?>
<p:tagLst xmlns:a="http://schemas.openxmlformats.org/drawingml/2006/main" xmlns:r="http://schemas.openxmlformats.org/officeDocument/2006/relationships" xmlns:p="http://schemas.openxmlformats.org/presentationml/2006/main">
  <p:tag name="NUM" val="3"/>
</p:tagLst>
</file>

<file path=ppt/tags/tag143.xml><?xml version="1.0" encoding="utf-8"?>
<p:tagLst xmlns:a="http://schemas.openxmlformats.org/drawingml/2006/main" xmlns:r="http://schemas.openxmlformats.org/officeDocument/2006/relationships" xmlns:p="http://schemas.openxmlformats.org/presentationml/2006/main">
  <p:tag name="NUM" val="4"/>
</p:tagLst>
</file>

<file path=ppt/tags/tag144.xml><?xml version="1.0" encoding="utf-8"?>
<p:tagLst xmlns:a="http://schemas.openxmlformats.org/drawingml/2006/main" xmlns:r="http://schemas.openxmlformats.org/officeDocument/2006/relationships" xmlns:p="http://schemas.openxmlformats.org/presentationml/2006/main">
  <p:tag name="NUM" val="5"/>
</p:tagLst>
</file>

<file path=ppt/tags/tag145.xml><?xml version="1.0" encoding="utf-8"?>
<p:tagLst xmlns:a="http://schemas.openxmlformats.org/drawingml/2006/main" xmlns:r="http://schemas.openxmlformats.org/officeDocument/2006/relationships" xmlns:p="http://schemas.openxmlformats.org/presentationml/2006/main">
  <p:tag name="NUM" val="6"/>
</p:tagLst>
</file>

<file path=ppt/tags/tag146.xml><?xml version="1.0" encoding="utf-8"?>
<p:tagLst xmlns:a="http://schemas.openxmlformats.org/drawingml/2006/main" xmlns:r="http://schemas.openxmlformats.org/officeDocument/2006/relationships" xmlns:p="http://schemas.openxmlformats.org/presentationml/2006/main">
  <p:tag name="NUM" val="7"/>
</p:tagLst>
</file>

<file path=ppt/tags/tag147.xml><?xml version="1.0" encoding="utf-8"?>
<p:tagLst xmlns:a="http://schemas.openxmlformats.org/drawingml/2006/main" xmlns:r="http://schemas.openxmlformats.org/officeDocument/2006/relationships" xmlns:p="http://schemas.openxmlformats.org/presentationml/2006/main">
  <p:tag name="NUM" val="1"/>
</p:tagLst>
</file>

<file path=ppt/tags/tag148.xml><?xml version="1.0" encoding="utf-8"?>
<p:tagLst xmlns:a="http://schemas.openxmlformats.org/drawingml/2006/main" xmlns:r="http://schemas.openxmlformats.org/officeDocument/2006/relationships" xmlns:p="http://schemas.openxmlformats.org/presentationml/2006/main">
  <p:tag name="NUM" val="2"/>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5"/>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4"/>
</p:tagLst>
</file>

<file path=ppt/tags/tag153.xml><?xml version="1.0" encoding="utf-8"?>
<p:tagLst xmlns:a="http://schemas.openxmlformats.org/drawingml/2006/main" xmlns:r="http://schemas.openxmlformats.org/officeDocument/2006/relationships" xmlns:p="http://schemas.openxmlformats.org/presentationml/2006/main">
  <p:tag name="NUM" val="5"/>
</p:tagLst>
</file>

<file path=ppt/tags/tag154.xml><?xml version="1.0" encoding="utf-8"?>
<p:tagLst xmlns:a="http://schemas.openxmlformats.org/drawingml/2006/main" xmlns:r="http://schemas.openxmlformats.org/officeDocument/2006/relationships" xmlns:p="http://schemas.openxmlformats.org/presentationml/2006/main">
  <p:tag name="NUM" val="1"/>
</p:tagLst>
</file>

<file path=ppt/tags/tag155.xml><?xml version="1.0" encoding="utf-8"?>
<p:tagLst xmlns:a="http://schemas.openxmlformats.org/drawingml/2006/main" xmlns:r="http://schemas.openxmlformats.org/officeDocument/2006/relationships" xmlns:p="http://schemas.openxmlformats.org/presentationml/2006/main">
  <p:tag name="NUM" val="2"/>
</p:tagLst>
</file>

<file path=ppt/tags/tag156.xml><?xml version="1.0" encoding="utf-8"?>
<p:tagLst xmlns:a="http://schemas.openxmlformats.org/drawingml/2006/main" xmlns:r="http://schemas.openxmlformats.org/officeDocument/2006/relationships" xmlns:p="http://schemas.openxmlformats.org/presentationml/2006/main">
  <p:tag name="NUM" val="3"/>
</p:tagLst>
</file>

<file path=ppt/tags/tag157.xml><?xml version="1.0" encoding="utf-8"?>
<p:tagLst xmlns:a="http://schemas.openxmlformats.org/drawingml/2006/main" xmlns:r="http://schemas.openxmlformats.org/officeDocument/2006/relationships" xmlns:p="http://schemas.openxmlformats.org/presentationml/2006/main">
  <p:tag name="NUM" val="4"/>
</p:tagLst>
</file>

<file path=ppt/tags/tag158.xml><?xml version="1.0" encoding="utf-8"?>
<p:tagLst xmlns:a="http://schemas.openxmlformats.org/drawingml/2006/main" xmlns:r="http://schemas.openxmlformats.org/officeDocument/2006/relationships" xmlns:p="http://schemas.openxmlformats.org/presentationml/2006/main">
  <p:tag name="NUM" val="5"/>
</p:tagLst>
</file>

<file path=ppt/tags/tag159.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NUM" val="6"/>
</p:tagLst>
</file>

<file path=ppt/tags/tag160.xml><?xml version="1.0" encoding="utf-8"?>
<p:tagLst xmlns:a="http://schemas.openxmlformats.org/drawingml/2006/main" xmlns:r="http://schemas.openxmlformats.org/officeDocument/2006/relationships" xmlns:p="http://schemas.openxmlformats.org/presentationml/2006/main">
  <p:tag name="NUM" val="7"/>
</p:tagLst>
</file>

<file path=ppt/tags/tag161.xml><?xml version="1.0" encoding="utf-8"?>
<p:tagLst xmlns:a="http://schemas.openxmlformats.org/drawingml/2006/main" xmlns:r="http://schemas.openxmlformats.org/officeDocument/2006/relationships" xmlns:p="http://schemas.openxmlformats.org/presentationml/2006/main">
  <p:tag name="NUM" val="8"/>
</p:tagLst>
</file>

<file path=ppt/tags/tag162.xml><?xml version="1.0" encoding="utf-8"?>
<p:tagLst xmlns:a="http://schemas.openxmlformats.org/drawingml/2006/main" xmlns:r="http://schemas.openxmlformats.org/officeDocument/2006/relationships" xmlns:p="http://schemas.openxmlformats.org/presentationml/2006/main">
  <p:tag name="NUM" val="9"/>
</p:tagLst>
</file>

<file path=ppt/tags/tag163.xml><?xml version="1.0" encoding="utf-8"?>
<p:tagLst xmlns:a="http://schemas.openxmlformats.org/drawingml/2006/main" xmlns:r="http://schemas.openxmlformats.org/officeDocument/2006/relationships" xmlns:p="http://schemas.openxmlformats.org/presentationml/2006/main">
  <p:tag name="NUM" val="10"/>
</p:tagLst>
</file>

<file path=ppt/tags/tag164.xml><?xml version="1.0" encoding="utf-8"?>
<p:tagLst xmlns:a="http://schemas.openxmlformats.org/drawingml/2006/main" xmlns:r="http://schemas.openxmlformats.org/officeDocument/2006/relationships" xmlns:p="http://schemas.openxmlformats.org/presentationml/2006/main">
  <p:tag name="NUM" val="1"/>
</p:tagLst>
</file>

<file path=ppt/tags/tag165.xml><?xml version="1.0" encoding="utf-8"?>
<p:tagLst xmlns:a="http://schemas.openxmlformats.org/drawingml/2006/main" xmlns:r="http://schemas.openxmlformats.org/officeDocument/2006/relationships" xmlns:p="http://schemas.openxmlformats.org/presentationml/2006/main">
  <p:tag name="NUM" val="2"/>
</p:tagLst>
</file>

<file path=ppt/tags/tag166.xml><?xml version="1.0" encoding="utf-8"?>
<p:tagLst xmlns:a="http://schemas.openxmlformats.org/drawingml/2006/main" xmlns:r="http://schemas.openxmlformats.org/officeDocument/2006/relationships" xmlns:p="http://schemas.openxmlformats.org/presentationml/2006/main">
  <p:tag name="NUM" val="3"/>
</p:tagLst>
</file>

<file path=ppt/tags/tag167.xml><?xml version="1.0" encoding="utf-8"?>
<p:tagLst xmlns:a="http://schemas.openxmlformats.org/drawingml/2006/main" xmlns:r="http://schemas.openxmlformats.org/officeDocument/2006/relationships" xmlns:p="http://schemas.openxmlformats.org/presentationml/2006/main">
  <p:tag name="NUM" val="4"/>
</p:tagLst>
</file>

<file path=ppt/tags/tag168.xml><?xml version="1.0" encoding="utf-8"?>
<p:tagLst xmlns:a="http://schemas.openxmlformats.org/drawingml/2006/main" xmlns:r="http://schemas.openxmlformats.org/officeDocument/2006/relationships" xmlns:p="http://schemas.openxmlformats.org/presentationml/2006/main">
  <p:tag name="NUM" val="5"/>
</p:tagLst>
</file>

<file path=ppt/tags/tag169.xml><?xml version="1.0" encoding="utf-8"?>
<p:tagLst xmlns:a="http://schemas.openxmlformats.org/drawingml/2006/main" xmlns:r="http://schemas.openxmlformats.org/officeDocument/2006/relationships" xmlns:p="http://schemas.openxmlformats.org/presentationml/2006/main">
  <p:tag name="NUM" val="6"/>
</p:tagLst>
</file>

<file path=ppt/tags/tag17.xml><?xml version="1.0" encoding="utf-8"?>
<p:tagLst xmlns:a="http://schemas.openxmlformats.org/drawingml/2006/main" xmlns:r="http://schemas.openxmlformats.org/officeDocument/2006/relationships" xmlns:p="http://schemas.openxmlformats.org/presentationml/2006/main">
  <p:tag name="NUM" val="7"/>
</p:tagLst>
</file>

<file path=ppt/tags/tag170.xml><?xml version="1.0" encoding="utf-8"?>
<p:tagLst xmlns:a="http://schemas.openxmlformats.org/drawingml/2006/main" xmlns:r="http://schemas.openxmlformats.org/officeDocument/2006/relationships" xmlns:p="http://schemas.openxmlformats.org/presentationml/2006/main">
  <p:tag name="NUM" val="7"/>
</p:tagLst>
</file>

<file path=ppt/tags/tag171.xml><?xml version="1.0" encoding="utf-8"?>
<p:tagLst xmlns:a="http://schemas.openxmlformats.org/drawingml/2006/main" xmlns:r="http://schemas.openxmlformats.org/officeDocument/2006/relationships" xmlns:p="http://schemas.openxmlformats.org/presentationml/2006/main">
  <p:tag name="NUM" val="1"/>
</p:tagLst>
</file>

<file path=ppt/tags/tag172.xml><?xml version="1.0" encoding="utf-8"?>
<p:tagLst xmlns:a="http://schemas.openxmlformats.org/drawingml/2006/main" xmlns:r="http://schemas.openxmlformats.org/officeDocument/2006/relationships" xmlns:p="http://schemas.openxmlformats.org/presentationml/2006/main">
  <p:tag name="NUM" val="2"/>
</p:tagLst>
</file>

<file path=ppt/tags/tag173.xml><?xml version="1.0" encoding="utf-8"?>
<p:tagLst xmlns:a="http://schemas.openxmlformats.org/drawingml/2006/main" xmlns:r="http://schemas.openxmlformats.org/officeDocument/2006/relationships" xmlns:p="http://schemas.openxmlformats.org/presentationml/2006/main">
  <p:tag name="NUM" val="3"/>
</p:tagLst>
</file>

<file path=ppt/tags/tag174.xml><?xml version="1.0" encoding="utf-8"?>
<p:tagLst xmlns:a="http://schemas.openxmlformats.org/drawingml/2006/main" xmlns:r="http://schemas.openxmlformats.org/officeDocument/2006/relationships" xmlns:p="http://schemas.openxmlformats.org/presentationml/2006/main">
  <p:tag name="NUM" val="4"/>
</p:tagLst>
</file>

<file path=ppt/tags/tag175.xml><?xml version="1.0" encoding="utf-8"?>
<p:tagLst xmlns:a="http://schemas.openxmlformats.org/drawingml/2006/main" xmlns:r="http://schemas.openxmlformats.org/officeDocument/2006/relationships" xmlns:p="http://schemas.openxmlformats.org/presentationml/2006/main">
  <p:tag name="NUM" val="5"/>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78.xml><?xml version="1.0" encoding="utf-8"?>
<p:tagLst xmlns:a="http://schemas.openxmlformats.org/drawingml/2006/main" xmlns:r="http://schemas.openxmlformats.org/officeDocument/2006/relationships" xmlns:p="http://schemas.openxmlformats.org/presentationml/2006/main">
  <p:tag name="NUM" val="1"/>
</p:tagLst>
</file>

<file path=ppt/tags/tag179.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NUM" val="1"/>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6"/>
</p:tagLst>
</file>

<file path=ppt/tags/tag24.xml><?xml version="1.0" encoding="utf-8"?>
<p:tagLst xmlns:a="http://schemas.openxmlformats.org/drawingml/2006/main" xmlns:r="http://schemas.openxmlformats.org/officeDocument/2006/relationships" xmlns:p="http://schemas.openxmlformats.org/presentationml/2006/main">
  <p:tag name="NUM" val="7"/>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5"/>
</p:tagLst>
</file>

<file path=ppt/tags/tag3.xml><?xml version="1.0" encoding="utf-8"?>
<p:tagLst xmlns:a="http://schemas.openxmlformats.org/drawingml/2006/main" xmlns:r="http://schemas.openxmlformats.org/officeDocument/2006/relationships" xmlns:p="http://schemas.openxmlformats.org/presentationml/2006/main">
  <p:tag name="NUM" val="2"/>
</p:tagLst>
</file>

<file path=ppt/tags/tag30.xml><?xml version="1.0" encoding="utf-8"?>
<p:tagLst xmlns:a="http://schemas.openxmlformats.org/drawingml/2006/main" xmlns:r="http://schemas.openxmlformats.org/officeDocument/2006/relationships" xmlns:p="http://schemas.openxmlformats.org/presentationml/2006/main">
  <p:tag name="NUM" val="6"/>
</p:tagLst>
</file>

<file path=ppt/tags/tag31.xml><?xml version="1.0" encoding="utf-8"?>
<p:tagLst xmlns:a="http://schemas.openxmlformats.org/drawingml/2006/main" xmlns:r="http://schemas.openxmlformats.org/officeDocument/2006/relationships" xmlns:p="http://schemas.openxmlformats.org/presentationml/2006/main">
  <p:tag name="NUM" val="7"/>
</p:tagLst>
</file>

<file path=ppt/tags/tag32.xml><?xml version="1.0" encoding="utf-8"?>
<p:tagLst xmlns:a="http://schemas.openxmlformats.org/drawingml/2006/main" xmlns:r="http://schemas.openxmlformats.org/officeDocument/2006/relationships" xmlns:p="http://schemas.openxmlformats.org/presentationml/2006/main">
  <p:tag name="NUM" val="8"/>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fUSL.Teekq.TV4MG7byJg"/>
  <p:tag name="NUM" val="1"/>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NUM" val="3"/>
</p:tagLst>
</file>

<file path=ppt/tags/tag40.xml><?xml version="1.0" encoding="utf-8"?>
<p:tagLst xmlns:a="http://schemas.openxmlformats.org/drawingml/2006/main" xmlns:r="http://schemas.openxmlformats.org/officeDocument/2006/relationships" xmlns:p="http://schemas.openxmlformats.org/presentationml/2006/main">
  <p:tag name="NUM" val="3"/>
</p:tagLst>
</file>

<file path=ppt/tags/tag41.xml><?xml version="1.0" encoding="utf-8"?>
<p:tagLst xmlns:a="http://schemas.openxmlformats.org/drawingml/2006/main" xmlns:r="http://schemas.openxmlformats.org/officeDocument/2006/relationships" xmlns:p="http://schemas.openxmlformats.org/presentationml/2006/main">
  <p:tag name="NUM" val="4"/>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43.xml><?xml version="1.0" encoding="utf-8"?>
<p:tagLst xmlns:a="http://schemas.openxmlformats.org/drawingml/2006/main" xmlns:r="http://schemas.openxmlformats.org/officeDocument/2006/relationships" xmlns:p="http://schemas.openxmlformats.org/presentationml/2006/main">
  <p:tag name="NUM" val="6"/>
</p:tagLst>
</file>

<file path=ppt/tags/tag44.xml><?xml version="1.0" encoding="utf-8"?>
<p:tagLst xmlns:a="http://schemas.openxmlformats.org/drawingml/2006/main" xmlns:r="http://schemas.openxmlformats.org/officeDocument/2006/relationships" xmlns:p="http://schemas.openxmlformats.org/presentationml/2006/main">
  <p:tag name="NUM" val="1"/>
</p:tagLst>
</file>

<file path=ppt/tags/tag45.xml><?xml version="1.0" encoding="utf-8"?>
<p:tagLst xmlns:a="http://schemas.openxmlformats.org/drawingml/2006/main" xmlns:r="http://schemas.openxmlformats.org/officeDocument/2006/relationships" xmlns:p="http://schemas.openxmlformats.org/presentationml/2006/main">
  <p:tag name="NUM" val="2"/>
</p:tagLst>
</file>

<file path=ppt/tags/tag46.xml><?xml version="1.0" encoding="utf-8"?>
<p:tagLst xmlns:a="http://schemas.openxmlformats.org/drawingml/2006/main" xmlns:r="http://schemas.openxmlformats.org/officeDocument/2006/relationships" xmlns:p="http://schemas.openxmlformats.org/presentationml/2006/main">
  <p:tag name="NUM" val="3"/>
</p:tagLst>
</file>

<file path=ppt/tags/tag47.xml><?xml version="1.0" encoding="utf-8"?>
<p:tagLst xmlns:a="http://schemas.openxmlformats.org/drawingml/2006/main" xmlns:r="http://schemas.openxmlformats.org/officeDocument/2006/relationships" xmlns:p="http://schemas.openxmlformats.org/presentationml/2006/main">
  <p:tag name="NUM" val="4"/>
</p:tagLst>
</file>

<file path=ppt/tags/tag48.xml><?xml version="1.0" encoding="utf-8"?>
<p:tagLst xmlns:a="http://schemas.openxmlformats.org/drawingml/2006/main" xmlns:r="http://schemas.openxmlformats.org/officeDocument/2006/relationships" xmlns:p="http://schemas.openxmlformats.org/presentationml/2006/main">
  <p:tag name="NUM" val="1"/>
</p:tagLst>
</file>

<file path=ppt/tags/tag49.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ags/tag50.xml><?xml version="1.0" encoding="utf-8"?>
<p:tagLst xmlns:a="http://schemas.openxmlformats.org/drawingml/2006/main" xmlns:r="http://schemas.openxmlformats.org/officeDocument/2006/relationships" xmlns:p="http://schemas.openxmlformats.org/presentationml/2006/main">
  <p:tag name="NUM" val="3"/>
</p:tagLst>
</file>

<file path=ppt/tags/tag51.xml><?xml version="1.0" encoding="utf-8"?>
<p:tagLst xmlns:a="http://schemas.openxmlformats.org/drawingml/2006/main" xmlns:r="http://schemas.openxmlformats.org/officeDocument/2006/relationships" xmlns:p="http://schemas.openxmlformats.org/presentationml/2006/main">
  <p:tag name="NUM" val="4"/>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2"/>
</p:tagLst>
</file>

<file path=ppt/tags/tag54.xml><?xml version="1.0" encoding="utf-8"?>
<p:tagLst xmlns:a="http://schemas.openxmlformats.org/drawingml/2006/main" xmlns:r="http://schemas.openxmlformats.org/officeDocument/2006/relationships" xmlns:p="http://schemas.openxmlformats.org/presentationml/2006/main">
  <p:tag name="NUM" val="3"/>
</p:tagLst>
</file>

<file path=ppt/tags/tag55.xml><?xml version="1.0" encoding="utf-8"?>
<p:tagLst xmlns:a="http://schemas.openxmlformats.org/drawingml/2006/main" xmlns:r="http://schemas.openxmlformats.org/officeDocument/2006/relationships" xmlns:p="http://schemas.openxmlformats.org/presentationml/2006/main">
  <p:tag name="NUM" val="4"/>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NUM" val="5"/>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5"/>
</p:tagLst>
</file>

<file path=ppt/tags/tag65.xml><?xml version="1.0" encoding="utf-8"?>
<p:tagLst xmlns:a="http://schemas.openxmlformats.org/drawingml/2006/main" xmlns:r="http://schemas.openxmlformats.org/officeDocument/2006/relationships" xmlns:p="http://schemas.openxmlformats.org/presentationml/2006/main">
  <p:tag name="NUM" val="6"/>
</p:tagLst>
</file>

<file path=ppt/tags/tag66.xml><?xml version="1.0" encoding="utf-8"?>
<p:tagLst xmlns:a="http://schemas.openxmlformats.org/drawingml/2006/main" xmlns:r="http://schemas.openxmlformats.org/officeDocument/2006/relationships" xmlns:p="http://schemas.openxmlformats.org/presentationml/2006/main">
  <p:tag name="NUM" val="7"/>
</p:tagLst>
</file>

<file path=ppt/tags/tag67.xml><?xml version="1.0" encoding="utf-8"?>
<p:tagLst xmlns:a="http://schemas.openxmlformats.org/drawingml/2006/main" xmlns:r="http://schemas.openxmlformats.org/officeDocument/2006/relationships" xmlns:p="http://schemas.openxmlformats.org/presentationml/2006/main">
  <p:tag name="NUM" val="8"/>
</p:tagLst>
</file>

<file path=ppt/tags/tag68.xml><?xml version="1.0" encoding="utf-8"?>
<p:tagLst xmlns:a="http://schemas.openxmlformats.org/drawingml/2006/main" xmlns:r="http://schemas.openxmlformats.org/officeDocument/2006/relationships" xmlns:p="http://schemas.openxmlformats.org/presentationml/2006/main">
  <p:tag name="NUM" val="9"/>
</p:tagLst>
</file>

<file path=ppt/tags/tag69.xml><?xml version="1.0" encoding="utf-8"?>
<p:tagLst xmlns:a="http://schemas.openxmlformats.org/drawingml/2006/main" xmlns:r="http://schemas.openxmlformats.org/officeDocument/2006/relationships" xmlns:p="http://schemas.openxmlformats.org/presentationml/2006/main">
  <p:tag name="NUM" val="10"/>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70.xml><?xml version="1.0" encoding="utf-8"?>
<p:tagLst xmlns:a="http://schemas.openxmlformats.org/drawingml/2006/main" xmlns:r="http://schemas.openxmlformats.org/officeDocument/2006/relationships" xmlns:p="http://schemas.openxmlformats.org/presentationml/2006/main">
  <p:tag name="NUM" val="11"/>
</p:tagLst>
</file>

<file path=ppt/tags/tag71.xml><?xml version="1.0" encoding="utf-8"?>
<p:tagLst xmlns:a="http://schemas.openxmlformats.org/drawingml/2006/main" xmlns:r="http://schemas.openxmlformats.org/officeDocument/2006/relationships" xmlns:p="http://schemas.openxmlformats.org/presentationml/2006/main">
  <p:tag name="NUM" val="1"/>
</p:tagLst>
</file>

<file path=ppt/tags/tag72.xml><?xml version="1.0" encoding="utf-8"?>
<p:tagLst xmlns:a="http://schemas.openxmlformats.org/drawingml/2006/main" xmlns:r="http://schemas.openxmlformats.org/officeDocument/2006/relationships" xmlns:p="http://schemas.openxmlformats.org/presentationml/2006/main">
  <p:tag name="NUM" val="2"/>
</p:tagLst>
</file>

<file path=ppt/tags/tag73.xml><?xml version="1.0" encoding="utf-8"?>
<p:tagLst xmlns:a="http://schemas.openxmlformats.org/drawingml/2006/main" xmlns:r="http://schemas.openxmlformats.org/officeDocument/2006/relationships" xmlns:p="http://schemas.openxmlformats.org/presentationml/2006/main">
  <p:tag name="NUM" val="3"/>
</p:tagLst>
</file>

<file path=ppt/tags/tag74.xml><?xml version="1.0" encoding="utf-8"?>
<p:tagLst xmlns:a="http://schemas.openxmlformats.org/drawingml/2006/main" xmlns:r="http://schemas.openxmlformats.org/officeDocument/2006/relationships" xmlns:p="http://schemas.openxmlformats.org/presentationml/2006/main">
  <p:tag name="NUM" val="1"/>
</p:tagLst>
</file>

<file path=ppt/tags/tag75.xml><?xml version="1.0" encoding="utf-8"?>
<p:tagLst xmlns:a="http://schemas.openxmlformats.org/drawingml/2006/main" xmlns:r="http://schemas.openxmlformats.org/officeDocument/2006/relationships" xmlns:p="http://schemas.openxmlformats.org/presentationml/2006/main">
  <p:tag name="NUM" val="2"/>
</p:tagLst>
</file>

<file path=ppt/tags/tag76.xml><?xml version="1.0" encoding="utf-8"?>
<p:tagLst xmlns:a="http://schemas.openxmlformats.org/drawingml/2006/main" xmlns:r="http://schemas.openxmlformats.org/officeDocument/2006/relationships" xmlns:p="http://schemas.openxmlformats.org/presentationml/2006/main">
  <p:tag name="NUM" val="3"/>
</p:tagLst>
</file>

<file path=ppt/tags/tag77.xml><?xml version="1.0" encoding="utf-8"?>
<p:tagLst xmlns:a="http://schemas.openxmlformats.org/drawingml/2006/main" xmlns:r="http://schemas.openxmlformats.org/officeDocument/2006/relationships" xmlns:p="http://schemas.openxmlformats.org/presentationml/2006/main">
  <p:tag name="NUM" val="4"/>
</p:tagLst>
</file>

<file path=ppt/tags/tag78.xml><?xml version="1.0" encoding="utf-8"?>
<p:tagLst xmlns:a="http://schemas.openxmlformats.org/drawingml/2006/main" xmlns:r="http://schemas.openxmlformats.org/officeDocument/2006/relationships" xmlns:p="http://schemas.openxmlformats.org/presentationml/2006/main">
  <p:tag name="NUM" val="5"/>
</p:tagLst>
</file>

<file path=ppt/tags/tag79.xml><?xml version="1.0" encoding="utf-8"?>
<p:tagLst xmlns:a="http://schemas.openxmlformats.org/drawingml/2006/main" xmlns:r="http://schemas.openxmlformats.org/officeDocument/2006/relationships" xmlns:p="http://schemas.openxmlformats.org/presentationml/2006/main">
  <p:tag name="NUM" val="6"/>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7"/>
</p:tagLst>
</file>

<file path=ppt/tags/tag81.xml><?xml version="1.0" encoding="utf-8"?>
<p:tagLst xmlns:a="http://schemas.openxmlformats.org/drawingml/2006/main" xmlns:r="http://schemas.openxmlformats.org/officeDocument/2006/relationships" xmlns:p="http://schemas.openxmlformats.org/presentationml/2006/main">
  <p:tag name="NUM" val="8"/>
</p:tagLst>
</file>

<file path=ppt/tags/tag82.xml><?xml version="1.0" encoding="utf-8"?>
<p:tagLst xmlns:a="http://schemas.openxmlformats.org/drawingml/2006/main" xmlns:r="http://schemas.openxmlformats.org/officeDocument/2006/relationships" xmlns:p="http://schemas.openxmlformats.org/presentationml/2006/main">
  <p:tag name="NUM" val="1"/>
</p:tagLst>
</file>

<file path=ppt/tags/tag83.xml><?xml version="1.0" encoding="utf-8"?>
<p:tagLst xmlns:a="http://schemas.openxmlformats.org/drawingml/2006/main" xmlns:r="http://schemas.openxmlformats.org/officeDocument/2006/relationships" xmlns:p="http://schemas.openxmlformats.org/presentationml/2006/main">
  <p:tag name="NUM" val="2"/>
</p:tagLst>
</file>

<file path=ppt/tags/tag84.xml><?xml version="1.0" encoding="utf-8"?>
<p:tagLst xmlns:a="http://schemas.openxmlformats.org/drawingml/2006/main" xmlns:r="http://schemas.openxmlformats.org/officeDocument/2006/relationships" xmlns:p="http://schemas.openxmlformats.org/presentationml/2006/main">
  <p:tag name="NUM" val="3"/>
</p:tagLst>
</file>

<file path=ppt/tags/tag85.xml><?xml version="1.0" encoding="utf-8"?>
<p:tagLst xmlns:a="http://schemas.openxmlformats.org/drawingml/2006/main" xmlns:r="http://schemas.openxmlformats.org/officeDocument/2006/relationships" xmlns:p="http://schemas.openxmlformats.org/presentationml/2006/main">
  <p:tag name="NUM" val="4"/>
</p:tagLst>
</file>

<file path=ppt/tags/tag86.xml><?xml version="1.0" encoding="utf-8"?>
<p:tagLst xmlns:a="http://schemas.openxmlformats.org/drawingml/2006/main" xmlns:r="http://schemas.openxmlformats.org/officeDocument/2006/relationships" xmlns:p="http://schemas.openxmlformats.org/presentationml/2006/main">
  <p:tag name="NUM" val="5"/>
</p:tagLst>
</file>

<file path=ppt/tags/tag87.xml><?xml version="1.0" encoding="utf-8"?>
<p:tagLst xmlns:a="http://schemas.openxmlformats.org/drawingml/2006/main" xmlns:r="http://schemas.openxmlformats.org/officeDocument/2006/relationships" xmlns:p="http://schemas.openxmlformats.org/presentationml/2006/main">
  <p:tag name="NUM" val="1"/>
</p:tagLst>
</file>

<file path=ppt/tags/tag88.xml><?xml version="1.0" encoding="utf-8"?>
<p:tagLst xmlns:a="http://schemas.openxmlformats.org/drawingml/2006/main" xmlns:r="http://schemas.openxmlformats.org/officeDocument/2006/relationships" xmlns:p="http://schemas.openxmlformats.org/presentationml/2006/main">
  <p:tag name="NUM" val="2"/>
</p:tagLst>
</file>

<file path=ppt/tags/tag89.xml><?xml version="1.0" encoding="utf-8"?>
<p:tagLst xmlns:a="http://schemas.openxmlformats.org/drawingml/2006/main" xmlns:r="http://schemas.openxmlformats.org/officeDocument/2006/relationships" xmlns:p="http://schemas.openxmlformats.org/presentationml/2006/main">
  <p:tag name="NUM" val="3"/>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4"/>
</p:tagLst>
</file>

<file path=ppt/tags/tag91.xml><?xml version="1.0" encoding="utf-8"?>
<p:tagLst xmlns:a="http://schemas.openxmlformats.org/drawingml/2006/main" xmlns:r="http://schemas.openxmlformats.org/officeDocument/2006/relationships" xmlns:p="http://schemas.openxmlformats.org/presentationml/2006/main">
  <p:tag name="NUM" val="1"/>
</p:tagLst>
</file>

<file path=ppt/tags/tag92.xml><?xml version="1.0" encoding="utf-8"?>
<p:tagLst xmlns:a="http://schemas.openxmlformats.org/drawingml/2006/main" xmlns:r="http://schemas.openxmlformats.org/officeDocument/2006/relationships" xmlns:p="http://schemas.openxmlformats.org/presentationml/2006/main">
  <p:tag name="NUM" val="2"/>
</p:tagLst>
</file>

<file path=ppt/tags/tag93.xml><?xml version="1.0" encoding="utf-8"?>
<p:tagLst xmlns:a="http://schemas.openxmlformats.org/drawingml/2006/main" xmlns:r="http://schemas.openxmlformats.org/officeDocument/2006/relationships" xmlns:p="http://schemas.openxmlformats.org/presentationml/2006/main">
  <p:tag name="NUM" val="3"/>
</p:tagLst>
</file>

<file path=ppt/tags/tag94.xml><?xml version="1.0" encoding="utf-8"?>
<p:tagLst xmlns:a="http://schemas.openxmlformats.org/drawingml/2006/main" xmlns:r="http://schemas.openxmlformats.org/officeDocument/2006/relationships" xmlns:p="http://schemas.openxmlformats.org/presentationml/2006/main">
  <p:tag name="NUM" val="4"/>
</p:tagLst>
</file>

<file path=ppt/tags/tag95.xml><?xml version="1.0" encoding="utf-8"?>
<p:tagLst xmlns:a="http://schemas.openxmlformats.org/drawingml/2006/main" xmlns:r="http://schemas.openxmlformats.org/officeDocument/2006/relationships" xmlns:p="http://schemas.openxmlformats.org/presentationml/2006/main">
  <p:tag name="NUM" val="5"/>
</p:tagLst>
</file>

<file path=ppt/tags/tag96.xml><?xml version="1.0" encoding="utf-8"?>
<p:tagLst xmlns:a="http://schemas.openxmlformats.org/drawingml/2006/main" xmlns:r="http://schemas.openxmlformats.org/officeDocument/2006/relationships" xmlns:p="http://schemas.openxmlformats.org/presentationml/2006/main">
  <p:tag name="NUM" val="6"/>
</p:tagLst>
</file>

<file path=ppt/tags/tag97.xml><?xml version="1.0" encoding="utf-8"?>
<p:tagLst xmlns:a="http://schemas.openxmlformats.org/drawingml/2006/main" xmlns:r="http://schemas.openxmlformats.org/officeDocument/2006/relationships" xmlns:p="http://schemas.openxmlformats.org/presentationml/2006/main">
  <p:tag name="NUM" val="7"/>
</p:tagLst>
</file>

<file path=ppt/tags/tag98.xml><?xml version="1.0" encoding="utf-8"?>
<p:tagLst xmlns:a="http://schemas.openxmlformats.org/drawingml/2006/main" xmlns:r="http://schemas.openxmlformats.org/officeDocument/2006/relationships" xmlns:p="http://schemas.openxmlformats.org/presentationml/2006/main">
  <p:tag name="NUM" val="8"/>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Thème Offic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XLMReviewStatus xmlns="02b48c24-590e-4651-bf89-1c80665057f0">Draft</XLMReviewStatus>
    <Attachedfiles xmlns="02b48c24-590e-4651-bf89-1c80665057f0" xsi:nil="true"/>
    <XLMTechnicalReviewer xmlns="02b48c24-590e-4651-bf89-1c80665057f0">
      <UserInfo>
        <DisplayName/>
        <AccountId xsi:nil="true"/>
        <AccountType/>
      </UserInfo>
    </XLMTechnicalReviewer>
    <XLMReference xmlns="02b48c24-590e-4651-bf89-1c80665057f0">XLM</XLMReference>
    <XLMClientCompany xmlns="02b48c24-590e-4651-bf89-1c80665057f0">Excellium</XLMClientCompan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83B229F8E35C4A95B140C0CAE258D8" ma:contentTypeVersion="22" ma:contentTypeDescription="Crée un document." ma:contentTypeScope="" ma:versionID="5b4f461c4416f7613e74c72faee0b4c4">
  <xsd:schema xmlns:xsd="http://www.w3.org/2001/XMLSchema" xmlns:xs="http://www.w3.org/2001/XMLSchema" xmlns:p="http://schemas.microsoft.com/office/2006/metadata/properties" xmlns:ns2="02b48c24-590e-4651-bf89-1c80665057f0" xmlns:ns3="f7d6c834-d54a-4408-aea7-02ec44eac55e" targetNamespace="http://schemas.microsoft.com/office/2006/metadata/properties" ma:root="true" ma:fieldsID="714cd20625f55cb6009d12d5588eb124" ns2:_="" ns3:_="">
    <xsd:import namespace="02b48c24-590e-4651-bf89-1c80665057f0"/>
    <xsd:import namespace="f7d6c834-d54a-4408-aea7-02ec44eac55e"/>
    <xsd:element name="properties">
      <xsd:complexType>
        <xsd:sequence>
          <xsd:element name="documentManagement">
            <xsd:complexType>
              <xsd:all>
                <xsd:element ref="ns2:XLMReference"/>
                <xsd:element ref="ns2:XLMClientCompany"/>
                <xsd:element ref="ns2:XLMTechnicalReviewer" minOccurs="0"/>
                <xsd:element ref="ns2:XLMReviewStatus" minOccurs="0"/>
                <xsd:element ref="ns2:Attachedfiles"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b48c24-590e-4651-bf89-1c80665057f0" elementFormDefault="qualified">
    <xsd:import namespace="http://schemas.microsoft.com/office/2006/documentManagement/types"/>
    <xsd:import namespace="http://schemas.microsoft.com/office/infopath/2007/PartnerControls"/>
    <xsd:element name="XLMReference" ma:index="2" ma:displayName="XLMReference" ma:description="" ma:format="Dropdown" ma:internalName="XLMReference" ma:readOnly="false">
      <xsd:simpleType>
        <xsd:restriction base="dms:Text">
          <xsd:maxLength value="255"/>
        </xsd:restriction>
      </xsd:simpleType>
    </xsd:element>
    <xsd:element name="XLMClientCompany" ma:index="3" ma:displayName="Client Company" ma:format="Dropdown" ma:internalName="XLMClientCompany" ma:readOnly="false">
      <xsd:simpleType>
        <xsd:union memberTypes="dms:Text">
          <xsd:simpleType>
            <xsd:restriction base="dms:Choice">
              <xsd:enumeration value="Deutsche Börse"/>
              <xsd:enumeration value="LNS"/>
            </xsd:restriction>
          </xsd:simpleType>
        </xsd:union>
      </xsd:simpleType>
    </xsd:element>
    <xsd:element name="XLMTechnicalReviewer" ma:index="4" nillable="true" ma:displayName="XLMTechnicalReviewer" ma:list="UserInfo" ma:SharePointGroup="0" ma:internalName="XLMTechnicalReview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XLMReviewStatus" ma:index="5" nillable="true" ma:displayName="XLMReviewStatus" ma:default="Tech Review" ma:format="Dropdown" ma:internalName="XLMReviewStatus">
      <xsd:simpleType>
        <xsd:restriction base="dms:Choice">
          <xsd:enumeration value="Tech Review"/>
          <xsd:enumeration value="Post Tech Review"/>
          <xsd:enumeration value="Mgt Review"/>
          <xsd:enumeration value="Post Mgt Review"/>
          <xsd:enumeration value="To Deliver"/>
          <xsd:enumeration value="Delivered"/>
          <xsd:enumeration value="Draft"/>
        </xsd:restriction>
      </xsd:simpleType>
    </xsd:element>
    <xsd:element name="Attachedfiles" ma:index="6" nillable="true" ma:displayName="Attached files" ma:format="Dropdown" ma:internalName="Attachedfile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hidden="true" ma:internalName="MediaServiceKeyPoints" ma:readOnly="true">
      <xsd:simpleType>
        <xsd:restriction base="dms:Note"/>
      </xsd:simpleType>
    </xsd:element>
    <xsd:element name="MediaLengthInSeconds" ma:index="19" nillable="true" ma:displayName="Length (seconds)" ma:internalName="MediaLengthInSeconds" ma:readOnly="true">
      <xsd:simpleType>
        <xsd:restriction base="dms:Unknown"/>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d6c834-d54a-4408-aea7-02ec44eac55e" elementFormDefault="qualified">
    <xsd:import namespace="http://schemas.microsoft.com/office/2006/documentManagement/types"/>
    <xsd:import namespace="http://schemas.microsoft.com/office/infopath/2007/PartnerControls"/>
    <xsd:element name="SharedWithUsers" ma:index="16" nillable="true" ma:displayName="Partagé avec"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Type de contenu"/>
        <xsd:element ref="dc:title" minOccurs="0" maxOccurs="1" ma:index="1"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3A1AD4-6D40-47F6-80B2-389A29D3D3EB}">
  <ds:schemaRefs>
    <ds:schemaRef ds:uri="http://schemas.microsoft.com/sharepoint/v3/contenttype/forms"/>
  </ds:schemaRefs>
</ds:datastoreItem>
</file>

<file path=customXml/itemProps2.xml><?xml version="1.0" encoding="utf-8"?>
<ds:datastoreItem xmlns:ds="http://schemas.openxmlformats.org/officeDocument/2006/customXml" ds:itemID="{1E74A187-7F83-42FF-9818-1B4F3E2D7F65}">
  <ds:schemaRefs>
    <ds:schemaRef ds:uri="http://schemas.microsoft.com/office/2006/documentManagement/types"/>
    <ds:schemaRef ds:uri="http://schemas.openxmlformats.org/package/2006/metadata/core-properties"/>
    <ds:schemaRef ds:uri="http://www.w3.org/XML/1998/namespace"/>
    <ds:schemaRef ds:uri="http://purl.org/dc/dcmitype/"/>
    <ds:schemaRef ds:uri="http://schemas.microsoft.com/office/2006/metadata/properties"/>
    <ds:schemaRef ds:uri="02b48c24-590e-4651-bf89-1c80665057f0"/>
    <ds:schemaRef ds:uri="http://purl.org/dc/elements/1.1/"/>
    <ds:schemaRef ds:uri="http://schemas.microsoft.com/office/infopath/2007/PartnerControls"/>
    <ds:schemaRef ds:uri="f7d6c834-d54a-4408-aea7-02ec44eac55e"/>
    <ds:schemaRef ds:uri="http://purl.org/dc/terms/"/>
  </ds:schemaRefs>
</ds:datastoreItem>
</file>

<file path=customXml/itemProps3.xml><?xml version="1.0" encoding="utf-8"?>
<ds:datastoreItem xmlns:ds="http://schemas.openxmlformats.org/officeDocument/2006/customXml" ds:itemID="{1FAF110F-D0C7-477E-B1FB-94FE25FEE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b48c24-590e-4651-bf89-1c80665057f0"/>
    <ds:schemaRef ds:uri="f7d6c834-d54a-4408-aea7-02ec44eac5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D78B48E-21D5-5C44-9AF3-319D5469B3B3}tf10001076</Template>
  <TotalTime>0</TotalTime>
  <Words>2679</Words>
  <Application>Microsoft Office PowerPoint</Application>
  <PresentationFormat>On-screen Show (16:9)</PresentationFormat>
  <Paragraphs>460</Paragraphs>
  <Slides>35</Slides>
  <Notes>34</Notes>
  <HiddenSlides>0</HiddenSlides>
  <MMClips>2</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5</vt:i4>
      </vt:variant>
    </vt:vector>
  </HeadingPairs>
  <TitlesOfParts>
    <vt:vector size="44" baseType="lpstr">
      <vt:lpstr>Arial</vt:lpstr>
      <vt:lpstr>Calibri</vt:lpstr>
      <vt:lpstr>Calibri Light</vt:lpstr>
      <vt:lpstr>Cascadia Code</vt:lpstr>
      <vt:lpstr>Helvetica</vt:lpstr>
      <vt:lpstr>Lato Hairline</vt:lpstr>
      <vt:lpstr>Lato Light</vt:lpstr>
      <vt:lpstr>Wingdings</vt:lpstr>
      <vt:lpstr>Thème 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LDS - Covid applications</dc:title>
  <dc:creator>XLM - AppSec</dc:creator>
  <cp:lastModifiedBy>Julien EHRHART</cp:lastModifiedBy>
  <cp:revision>1</cp:revision>
  <dcterms:modified xsi:type="dcterms:W3CDTF">2021-10-05T06:2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83B229F8E35C4A95B140C0CAE258D8</vt:lpwstr>
  </property>
</Properties>
</file>